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3"/>
  </p:notesMasterIdLst>
  <p:sldIdLst>
    <p:sldId id="256" r:id="rId2"/>
    <p:sldId id="262" r:id="rId3"/>
    <p:sldId id="263" r:id="rId4"/>
    <p:sldId id="264" r:id="rId5"/>
    <p:sldId id="326" r:id="rId6"/>
    <p:sldId id="327" r:id="rId7"/>
    <p:sldId id="328" r:id="rId8"/>
    <p:sldId id="329" r:id="rId9"/>
    <p:sldId id="330" r:id="rId10"/>
    <p:sldId id="331" r:id="rId11"/>
    <p:sldId id="261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3073"/>
  </p:normalViewPr>
  <p:slideViewPr>
    <p:cSldViewPr snapToGrid="0" snapToObjects="1">
      <p:cViewPr>
        <p:scale>
          <a:sx n="70" d="100"/>
          <a:sy n="70" d="100"/>
        </p:scale>
        <p:origin x="2080" y="1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BF0AA47-9BBA-0144-B449-6488F9CE5415}" type="doc">
      <dgm:prSet loTypeId="urn:microsoft.com/office/officeart/2005/8/layout/hProcess9" loCatId="process" qsTypeId="urn:microsoft.com/office/officeart/2005/8/quickstyle/simple1" qsCatId="simple" csTypeId="urn:microsoft.com/office/officeart/2005/8/colors/accent1_4" csCatId="accent1" phldr="1"/>
      <dgm:spPr/>
    </dgm:pt>
    <dgm:pt modelId="{8CC3F1C6-AEA1-2C4E-AFFC-8ABB84545A1D}">
      <dgm:prSet phldrT="[Text]" custT="1"/>
      <dgm:spPr/>
      <dgm:t>
        <a:bodyPr/>
        <a:lstStyle/>
        <a:p>
          <a:r>
            <a:rPr lang="en-GB" sz="1800" b="1" dirty="0" err="1"/>
            <a:t>Sumber</a:t>
          </a:r>
          <a:r>
            <a:rPr lang="en-GB" sz="1800" b="1" dirty="0"/>
            <a:t> </a:t>
          </a:r>
          <a:r>
            <a:rPr lang="en-GB" sz="1800" b="1" dirty="0" err="1"/>
            <a:t>Daya</a:t>
          </a:r>
          <a:r>
            <a:rPr lang="en-GB" sz="1800" b="1" dirty="0"/>
            <a:t> dan Enabler</a:t>
          </a:r>
        </a:p>
      </dgm:t>
    </dgm:pt>
    <dgm:pt modelId="{CCF8AB1C-83E6-6847-849E-B355A97FB4C2}" type="parTrans" cxnId="{6A1E67B0-9CB9-C643-90FC-F31099067D3F}">
      <dgm:prSet/>
      <dgm:spPr/>
      <dgm:t>
        <a:bodyPr/>
        <a:lstStyle/>
        <a:p>
          <a:endParaRPr lang="en-GB" b="1"/>
        </a:p>
      </dgm:t>
    </dgm:pt>
    <dgm:pt modelId="{8DEC8149-780B-F146-9E71-A963641F7FC7}" type="sibTrans" cxnId="{6A1E67B0-9CB9-C643-90FC-F31099067D3F}">
      <dgm:prSet/>
      <dgm:spPr/>
      <dgm:t>
        <a:bodyPr/>
        <a:lstStyle/>
        <a:p>
          <a:endParaRPr lang="en-GB" b="1"/>
        </a:p>
      </dgm:t>
    </dgm:pt>
    <dgm:pt modelId="{4DB191E8-F30A-7841-9334-B27A6AAAB83F}">
      <dgm:prSet phldrT="[Text]" custT="1"/>
      <dgm:spPr/>
      <dgm:t>
        <a:bodyPr/>
        <a:lstStyle/>
        <a:p>
          <a:r>
            <a:rPr lang="en-GB" sz="1800" b="1" dirty="0" err="1"/>
            <a:t>Teknologi</a:t>
          </a:r>
          <a:endParaRPr lang="en-GB" sz="1800" b="1" dirty="0"/>
        </a:p>
      </dgm:t>
    </dgm:pt>
    <dgm:pt modelId="{5293461D-F5D4-F04B-84AF-6A8E7B07CCFE}" type="parTrans" cxnId="{F1BD7C3C-CC60-7644-B9B1-F8D8C91EC0E0}">
      <dgm:prSet/>
      <dgm:spPr/>
      <dgm:t>
        <a:bodyPr/>
        <a:lstStyle/>
        <a:p>
          <a:endParaRPr lang="en-GB" b="1"/>
        </a:p>
      </dgm:t>
    </dgm:pt>
    <dgm:pt modelId="{9A2939E1-356B-084B-948B-F65FE93B64FD}" type="sibTrans" cxnId="{F1BD7C3C-CC60-7644-B9B1-F8D8C91EC0E0}">
      <dgm:prSet/>
      <dgm:spPr/>
      <dgm:t>
        <a:bodyPr/>
        <a:lstStyle/>
        <a:p>
          <a:endParaRPr lang="en-GB" b="1"/>
        </a:p>
      </dgm:t>
    </dgm:pt>
    <dgm:pt modelId="{FFD9B8A4-89E9-5A4F-A0BD-315CB761043C}">
      <dgm:prSet phldrT="[Text]" custT="1"/>
      <dgm:spPr/>
      <dgm:t>
        <a:bodyPr/>
        <a:lstStyle/>
        <a:p>
          <a:r>
            <a:rPr lang="en-GB" sz="1800" b="1" dirty="0" err="1"/>
            <a:t>Produk</a:t>
          </a:r>
          <a:r>
            <a:rPr lang="en-GB" sz="1800" b="1" dirty="0"/>
            <a:t>, </a:t>
          </a:r>
          <a:r>
            <a:rPr lang="en-GB" sz="1800" b="1" dirty="0" err="1"/>
            <a:t>Layanan</a:t>
          </a:r>
          <a:r>
            <a:rPr lang="en-GB" sz="1800" b="1" dirty="0"/>
            <a:t>, dan </a:t>
          </a:r>
          <a:r>
            <a:rPr lang="en-GB" sz="1800" b="1" dirty="0" err="1"/>
            <a:t>Solusi</a:t>
          </a:r>
          <a:endParaRPr lang="en-GB" sz="1800" b="1" dirty="0"/>
        </a:p>
      </dgm:t>
    </dgm:pt>
    <dgm:pt modelId="{7D2A6F0E-3D19-964C-A780-96F8B0F43662}" type="parTrans" cxnId="{0D25DCD9-6A03-004C-A0DA-E9BCCE18D515}">
      <dgm:prSet/>
      <dgm:spPr/>
      <dgm:t>
        <a:bodyPr/>
        <a:lstStyle/>
        <a:p>
          <a:endParaRPr lang="en-GB" b="1"/>
        </a:p>
      </dgm:t>
    </dgm:pt>
    <dgm:pt modelId="{B6710562-48D1-B64B-9A2B-B86398BE6992}" type="sibTrans" cxnId="{0D25DCD9-6A03-004C-A0DA-E9BCCE18D515}">
      <dgm:prSet/>
      <dgm:spPr/>
      <dgm:t>
        <a:bodyPr/>
        <a:lstStyle/>
        <a:p>
          <a:endParaRPr lang="en-GB" b="1"/>
        </a:p>
      </dgm:t>
    </dgm:pt>
    <dgm:pt modelId="{484FD182-C165-F848-B798-2675B97B15D7}">
      <dgm:prSet phldrT="[Text]" custT="1"/>
      <dgm:spPr/>
      <dgm:t>
        <a:bodyPr/>
        <a:lstStyle/>
        <a:p>
          <a:r>
            <a:rPr lang="en-GB" sz="1800" b="1" dirty="0" err="1"/>
            <a:t>Sektor</a:t>
          </a:r>
          <a:r>
            <a:rPr lang="en-GB" sz="1800" b="1" dirty="0"/>
            <a:t> </a:t>
          </a:r>
          <a:r>
            <a:rPr lang="en-GB" sz="1800" b="1" dirty="0" err="1"/>
            <a:t>Publik</a:t>
          </a:r>
          <a:r>
            <a:rPr lang="en-GB" sz="1800" b="1" dirty="0"/>
            <a:t> dan </a:t>
          </a:r>
          <a:r>
            <a:rPr lang="en-GB" sz="1800" b="1" dirty="0" err="1"/>
            <a:t>Industri</a:t>
          </a:r>
          <a:r>
            <a:rPr lang="en-GB" sz="1800" b="1" dirty="0"/>
            <a:t> </a:t>
          </a:r>
          <a:r>
            <a:rPr lang="en-GB" sz="1800" b="1" dirty="0" err="1"/>
            <a:t>Unggulan</a:t>
          </a:r>
          <a:endParaRPr lang="en-GB" sz="1800" b="1" dirty="0"/>
        </a:p>
      </dgm:t>
    </dgm:pt>
    <dgm:pt modelId="{6687B758-F053-9244-9C76-A618687AA2EE}" type="parTrans" cxnId="{E8C82B45-5810-2846-91C1-7CFD0E792C93}">
      <dgm:prSet/>
      <dgm:spPr/>
      <dgm:t>
        <a:bodyPr/>
        <a:lstStyle/>
        <a:p>
          <a:endParaRPr lang="en-GB" b="1"/>
        </a:p>
      </dgm:t>
    </dgm:pt>
    <dgm:pt modelId="{E99F5E9F-90E6-1640-8EAD-13F4940D2D96}" type="sibTrans" cxnId="{E8C82B45-5810-2846-91C1-7CFD0E792C93}">
      <dgm:prSet/>
      <dgm:spPr/>
      <dgm:t>
        <a:bodyPr/>
        <a:lstStyle/>
        <a:p>
          <a:endParaRPr lang="en-GB" b="1"/>
        </a:p>
      </dgm:t>
    </dgm:pt>
    <dgm:pt modelId="{488A6796-2132-2747-8045-41A42965C9B1}" type="pres">
      <dgm:prSet presAssocID="{9BF0AA47-9BBA-0144-B449-6488F9CE5415}" presName="CompostProcess" presStyleCnt="0">
        <dgm:presLayoutVars>
          <dgm:dir/>
          <dgm:resizeHandles val="exact"/>
        </dgm:presLayoutVars>
      </dgm:prSet>
      <dgm:spPr/>
    </dgm:pt>
    <dgm:pt modelId="{9C4CD58A-A854-7A40-A67E-2BC331868D21}" type="pres">
      <dgm:prSet presAssocID="{9BF0AA47-9BBA-0144-B449-6488F9CE5415}" presName="arrow" presStyleLbl="bgShp" presStyleIdx="0" presStyleCnt="1"/>
      <dgm:spPr/>
    </dgm:pt>
    <dgm:pt modelId="{F0D48F1D-24AD-064F-9B47-4C0A578AACED}" type="pres">
      <dgm:prSet presAssocID="{9BF0AA47-9BBA-0144-B449-6488F9CE5415}" presName="linearProcess" presStyleCnt="0"/>
      <dgm:spPr/>
    </dgm:pt>
    <dgm:pt modelId="{E3CB2FB0-AA72-A844-9C9D-F79F6E6D89E7}" type="pres">
      <dgm:prSet presAssocID="{8CC3F1C6-AEA1-2C4E-AFFC-8ABB84545A1D}" presName="textNode" presStyleLbl="node1" presStyleIdx="0" presStyleCnt="4">
        <dgm:presLayoutVars>
          <dgm:bulletEnabled val="1"/>
        </dgm:presLayoutVars>
      </dgm:prSet>
      <dgm:spPr/>
    </dgm:pt>
    <dgm:pt modelId="{C6DBD819-A1B7-3C40-9AA5-D06A89776A39}" type="pres">
      <dgm:prSet presAssocID="{8DEC8149-780B-F146-9E71-A963641F7FC7}" presName="sibTrans" presStyleCnt="0"/>
      <dgm:spPr/>
    </dgm:pt>
    <dgm:pt modelId="{60D47B83-D128-A743-BADF-95AA747EB20F}" type="pres">
      <dgm:prSet presAssocID="{4DB191E8-F30A-7841-9334-B27A6AAAB83F}" presName="textNode" presStyleLbl="node1" presStyleIdx="1" presStyleCnt="4">
        <dgm:presLayoutVars>
          <dgm:bulletEnabled val="1"/>
        </dgm:presLayoutVars>
      </dgm:prSet>
      <dgm:spPr/>
    </dgm:pt>
    <dgm:pt modelId="{E2F5B64E-B133-744C-92B5-820EC34A1C52}" type="pres">
      <dgm:prSet presAssocID="{9A2939E1-356B-084B-948B-F65FE93B64FD}" presName="sibTrans" presStyleCnt="0"/>
      <dgm:spPr/>
    </dgm:pt>
    <dgm:pt modelId="{880A652E-03A2-5848-B3FC-C9C191FBD4ED}" type="pres">
      <dgm:prSet presAssocID="{FFD9B8A4-89E9-5A4F-A0BD-315CB761043C}" presName="textNode" presStyleLbl="node1" presStyleIdx="2" presStyleCnt="4">
        <dgm:presLayoutVars>
          <dgm:bulletEnabled val="1"/>
        </dgm:presLayoutVars>
      </dgm:prSet>
      <dgm:spPr/>
    </dgm:pt>
    <dgm:pt modelId="{C167D9D7-2800-5643-9C8B-811ACF61DEEA}" type="pres">
      <dgm:prSet presAssocID="{B6710562-48D1-B64B-9A2B-B86398BE6992}" presName="sibTrans" presStyleCnt="0"/>
      <dgm:spPr/>
    </dgm:pt>
    <dgm:pt modelId="{432787F3-7D9C-C24B-830D-ECF391E9FB5E}" type="pres">
      <dgm:prSet presAssocID="{484FD182-C165-F848-B798-2675B97B15D7}" presName="textNode" presStyleLbl="node1" presStyleIdx="3" presStyleCnt="4">
        <dgm:presLayoutVars>
          <dgm:bulletEnabled val="1"/>
        </dgm:presLayoutVars>
      </dgm:prSet>
      <dgm:spPr/>
    </dgm:pt>
  </dgm:ptLst>
  <dgm:cxnLst>
    <dgm:cxn modelId="{1844BC21-CEF4-5346-8CA8-9D8BD3E8DFB3}" type="presOf" srcId="{FFD9B8A4-89E9-5A4F-A0BD-315CB761043C}" destId="{880A652E-03A2-5848-B3FC-C9C191FBD4ED}" srcOrd="0" destOrd="0" presId="urn:microsoft.com/office/officeart/2005/8/layout/hProcess9"/>
    <dgm:cxn modelId="{9C083939-72EF-2241-9F65-A9A5D5963E59}" type="presOf" srcId="{484FD182-C165-F848-B798-2675B97B15D7}" destId="{432787F3-7D9C-C24B-830D-ECF391E9FB5E}" srcOrd="0" destOrd="0" presId="urn:microsoft.com/office/officeart/2005/8/layout/hProcess9"/>
    <dgm:cxn modelId="{F1BD7C3C-CC60-7644-B9B1-F8D8C91EC0E0}" srcId="{9BF0AA47-9BBA-0144-B449-6488F9CE5415}" destId="{4DB191E8-F30A-7841-9334-B27A6AAAB83F}" srcOrd="1" destOrd="0" parTransId="{5293461D-F5D4-F04B-84AF-6A8E7B07CCFE}" sibTransId="{9A2939E1-356B-084B-948B-F65FE93B64FD}"/>
    <dgm:cxn modelId="{E8C82B45-5810-2846-91C1-7CFD0E792C93}" srcId="{9BF0AA47-9BBA-0144-B449-6488F9CE5415}" destId="{484FD182-C165-F848-B798-2675B97B15D7}" srcOrd="3" destOrd="0" parTransId="{6687B758-F053-9244-9C76-A618687AA2EE}" sibTransId="{E99F5E9F-90E6-1640-8EAD-13F4940D2D96}"/>
    <dgm:cxn modelId="{2F96AF60-E2D8-CF44-B857-B16756CA9A1D}" type="presOf" srcId="{8CC3F1C6-AEA1-2C4E-AFFC-8ABB84545A1D}" destId="{E3CB2FB0-AA72-A844-9C9D-F79F6E6D89E7}" srcOrd="0" destOrd="0" presId="urn:microsoft.com/office/officeart/2005/8/layout/hProcess9"/>
    <dgm:cxn modelId="{0F621E7F-5A55-DC4B-84B6-C406B2930730}" type="presOf" srcId="{4DB191E8-F30A-7841-9334-B27A6AAAB83F}" destId="{60D47B83-D128-A743-BADF-95AA747EB20F}" srcOrd="0" destOrd="0" presId="urn:microsoft.com/office/officeart/2005/8/layout/hProcess9"/>
    <dgm:cxn modelId="{6EA2DC96-416E-1740-B224-1C950B3750DB}" type="presOf" srcId="{9BF0AA47-9BBA-0144-B449-6488F9CE5415}" destId="{488A6796-2132-2747-8045-41A42965C9B1}" srcOrd="0" destOrd="0" presId="urn:microsoft.com/office/officeart/2005/8/layout/hProcess9"/>
    <dgm:cxn modelId="{6A1E67B0-9CB9-C643-90FC-F31099067D3F}" srcId="{9BF0AA47-9BBA-0144-B449-6488F9CE5415}" destId="{8CC3F1C6-AEA1-2C4E-AFFC-8ABB84545A1D}" srcOrd="0" destOrd="0" parTransId="{CCF8AB1C-83E6-6847-849E-B355A97FB4C2}" sibTransId="{8DEC8149-780B-F146-9E71-A963641F7FC7}"/>
    <dgm:cxn modelId="{0D25DCD9-6A03-004C-A0DA-E9BCCE18D515}" srcId="{9BF0AA47-9BBA-0144-B449-6488F9CE5415}" destId="{FFD9B8A4-89E9-5A4F-A0BD-315CB761043C}" srcOrd="2" destOrd="0" parTransId="{7D2A6F0E-3D19-964C-A780-96F8B0F43662}" sibTransId="{B6710562-48D1-B64B-9A2B-B86398BE6992}"/>
    <dgm:cxn modelId="{36FAE49C-3DFB-AE49-97DA-71E203362A34}" type="presParOf" srcId="{488A6796-2132-2747-8045-41A42965C9B1}" destId="{9C4CD58A-A854-7A40-A67E-2BC331868D21}" srcOrd="0" destOrd="0" presId="urn:microsoft.com/office/officeart/2005/8/layout/hProcess9"/>
    <dgm:cxn modelId="{BC51EC4A-32B9-EF46-9529-AA41B2C20F09}" type="presParOf" srcId="{488A6796-2132-2747-8045-41A42965C9B1}" destId="{F0D48F1D-24AD-064F-9B47-4C0A578AACED}" srcOrd="1" destOrd="0" presId="urn:microsoft.com/office/officeart/2005/8/layout/hProcess9"/>
    <dgm:cxn modelId="{D0695415-B08C-474B-A44C-474B5E500960}" type="presParOf" srcId="{F0D48F1D-24AD-064F-9B47-4C0A578AACED}" destId="{E3CB2FB0-AA72-A844-9C9D-F79F6E6D89E7}" srcOrd="0" destOrd="0" presId="urn:microsoft.com/office/officeart/2005/8/layout/hProcess9"/>
    <dgm:cxn modelId="{078A5326-CF71-754D-95F3-5263E38E1E72}" type="presParOf" srcId="{F0D48F1D-24AD-064F-9B47-4C0A578AACED}" destId="{C6DBD819-A1B7-3C40-9AA5-D06A89776A39}" srcOrd="1" destOrd="0" presId="urn:microsoft.com/office/officeart/2005/8/layout/hProcess9"/>
    <dgm:cxn modelId="{F0AF82AD-74AE-1C49-A718-F56C90E58C7F}" type="presParOf" srcId="{F0D48F1D-24AD-064F-9B47-4C0A578AACED}" destId="{60D47B83-D128-A743-BADF-95AA747EB20F}" srcOrd="2" destOrd="0" presId="urn:microsoft.com/office/officeart/2005/8/layout/hProcess9"/>
    <dgm:cxn modelId="{763B5C68-97CF-E444-B3A5-C762E9EE6960}" type="presParOf" srcId="{F0D48F1D-24AD-064F-9B47-4C0A578AACED}" destId="{E2F5B64E-B133-744C-92B5-820EC34A1C52}" srcOrd="3" destOrd="0" presId="urn:microsoft.com/office/officeart/2005/8/layout/hProcess9"/>
    <dgm:cxn modelId="{88354610-26B7-954C-B205-A2A3658FA2CF}" type="presParOf" srcId="{F0D48F1D-24AD-064F-9B47-4C0A578AACED}" destId="{880A652E-03A2-5848-B3FC-C9C191FBD4ED}" srcOrd="4" destOrd="0" presId="urn:microsoft.com/office/officeart/2005/8/layout/hProcess9"/>
    <dgm:cxn modelId="{A2E3A237-44D4-154F-A722-E0DA331F36DC}" type="presParOf" srcId="{F0D48F1D-24AD-064F-9B47-4C0A578AACED}" destId="{C167D9D7-2800-5643-9C8B-811ACF61DEEA}" srcOrd="5" destOrd="0" presId="urn:microsoft.com/office/officeart/2005/8/layout/hProcess9"/>
    <dgm:cxn modelId="{A6690A4A-1B16-6C41-A6B4-B27C4F459D0B}" type="presParOf" srcId="{F0D48F1D-24AD-064F-9B47-4C0A578AACED}" destId="{432787F3-7D9C-C24B-830D-ECF391E9FB5E}" srcOrd="6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C4CD58A-A854-7A40-A67E-2BC331868D21}">
      <dsp:nvSpPr>
        <dsp:cNvPr id="0" name=""/>
        <dsp:cNvSpPr/>
      </dsp:nvSpPr>
      <dsp:spPr>
        <a:xfrm>
          <a:off x="687069" y="0"/>
          <a:ext cx="7786787" cy="4749800"/>
        </a:xfrm>
        <a:prstGeom prst="rightArrow">
          <a:avLst/>
        </a:prstGeom>
        <a:solidFill>
          <a:schemeClr val="accent1">
            <a:tint val="5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CB2FB0-AA72-A844-9C9D-F79F6E6D89E7}">
      <dsp:nvSpPr>
        <dsp:cNvPr id="0" name=""/>
        <dsp:cNvSpPr/>
      </dsp:nvSpPr>
      <dsp:spPr>
        <a:xfrm>
          <a:off x="3131" y="1424939"/>
          <a:ext cx="2034369" cy="1899920"/>
        </a:xfrm>
        <a:prstGeom prst="roundRect">
          <a:avLst/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 err="1"/>
            <a:t>Sumber</a:t>
          </a:r>
          <a:r>
            <a:rPr lang="en-GB" sz="1800" b="1" kern="1200" dirty="0"/>
            <a:t> </a:t>
          </a:r>
          <a:r>
            <a:rPr lang="en-GB" sz="1800" b="1" kern="1200" dirty="0" err="1"/>
            <a:t>Daya</a:t>
          </a:r>
          <a:r>
            <a:rPr lang="en-GB" sz="1800" b="1" kern="1200" dirty="0"/>
            <a:t> dan Enabler</a:t>
          </a:r>
        </a:p>
      </dsp:txBody>
      <dsp:txXfrm>
        <a:off x="95877" y="1517685"/>
        <a:ext cx="1848877" cy="1714428"/>
      </dsp:txXfrm>
    </dsp:sp>
    <dsp:sp modelId="{60D47B83-D128-A743-BADF-95AA747EB20F}">
      <dsp:nvSpPr>
        <dsp:cNvPr id="0" name=""/>
        <dsp:cNvSpPr/>
      </dsp:nvSpPr>
      <dsp:spPr>
        <a:xfrm>
          <a:off x="2376562" y="1424939"/>
          <a:ext cx="2034369" cy="1899920"/>
        </a:xfrm>
        <a:prstGeom prst="roundRect">
          <a:avLst/>
        </a:prstGeom>
        <a:solidFill>
          <a:schemeClr val="accent1">
            <a:shade val="50000"/>
            <a:hueOff val="201247"/>
            <a:satOff val="-4901"/>
            <a:lumOff val="2144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 err="1"/>
            <a:t>Teknologi</a:t>
          </a:r>
          <a:endParaRPr lang="en-GB" sz="1800" b="1" kern="1200" dirty="0"/>
        </a:p>
      </dsp:txBody>
      <dsp:txXfrm>
        <a:off x="2469308" y="1517685"/>
        <a:ext cx="1848877" cy="1714428"/>
      </dsp:txXfrm>
    </dsp:sp>
    <dsp:sp modelId="{880A652E-03A2-5848-B3FC-C9C191FBD4ED}">
      <dsp:nvSpPr>
        <dsp:cNvPr id="0" name=""/>
        <dsp:cNvSpPr/>
      </dsp:nvSpPr>
      <dsp:spPr>
        <a:xfrm>
          <a:off x="4749994" y="1424939"/>
          <a:ext cx="2034369" cy="1899920"/>
        </a:xfrm>
        <a:prstGeom prst="roundRect">
          <a:avLst/>
        </a:prstGeom>
        <a:solidFill>
          <a:schemeClr val="accent1">
            <a:shade val="50000"/>
            <a:hueOff val="402493"/>
            <a:satOff val="-9802"/>
            <a:lumOff val="4289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 err="1"/>
            <a:t>Produk</a:t>
          </a:r>
          <a:r>
            <a:rPr lang="en-GB" sz="1800" b="1" kern="1200" dirty="0"/>
            <a:t>, </a:t>
          </a:r>
          <a:r>
            <a:rPr lang="en-GB" sz="1800" b="1" kern="1200" dirty="0" err="1"/>
            <a:t>Layanan</a:t>
          </a:r>
          <a:r>
            <a:rPr lang="en-GB" sz="1800" b="1" kern="1200" dirty="0"/>
            <a:t>, dan </a:t>
          </a:r>
          <a:r>
            <a:rPr lang="en-GB" sz="1800" b="1" kern="1200" dirty="0" err="1"/>
            <a:t>Solusi</a:t>
          </a:r>
          <a:endParaRPr lang="en-GB" sz="1800" b="1" kern="1200" dirty="0"/>
        </a:p>
      </dsp:txBody>
      <dsp:txXfrm>
        <a:off x="4842740" y="1517685"/>
        <a:ext cx="1848877" cy="1714428"/>
      </dsp:txXfrm>
    </dsp:sp>
    <dsp:sp modelId="{432787F3-7D9C-C24B-830D-ECF391E9FB5E}">
      <dsp:nvSpPr>
        <dsp:cNvPr id="0" name=""/>
        <dsp:cNvSpPr/>
      </dsp:nvSpPr>
      <dsp:spPr>
        <a:xfrm>
          <a:off x="7123425" y="1424939"/>
          <a:ext cx="2034369" cy="1899920"/>
        </a:xfrm>
        <a:prstGeom prst="roundRect">
          <a:avLst/>
        </a:prstGeom>
        <a:solidFill>
          <a:schemeClr val="accent1">
            <a:shade val="50000"/>
            <a:hueOff val="201247"/>
            <a:satOff val="-4901"/>
            <a:lumOff val="2144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 err="1"/>
            <a:t>Sektor</a:t>
          </a:r>
          <a:r>
            <a:rPr lang="en-GB" sz="1800" b="1" kern="1200" dirty="0"/>
            <a:t> </a:t>
          </a:r>
          <a:r>
            <a:rPr lang="en-GB" sz="1800" b="1" kern="1200" dirty="0" err="1"/>
            <a:t>Publik</a:t>
          </a:r>
          <a:r>
            <a:rPr lang="en-GB" sz="1800" b="1" kern="1200" dirty="0"/>
            <a:t> dan </a:t>
          </a:r>
          <a:r>
            <a:rPr lang="en-GB" sz="1800" b="1" kern="1200" dirty="0" err="1"/>
            <a:t>Industri</a:t>
          </a:r>
          <a:r>
            <a:rPr lang="en-GB" sz="1800" b="1" kern="1200" dirty="0"/>
            <a:t> </a:t>
          </a:r>
          <a:r>
            <a:rPr lang="en-GB" sz="1800" b="1" kern="1200" dirty="0" err="1"/>
            <a:t>Unggulan</a:t>
          </a:r>
          <a:endParaRPr lang="en-GB" sz="1800" b="1" kern="1200" dirty="0"/>
        </a:p>
      </dsp:txBody>
      <dsp:txXfrm>
        <a:off x="7216171" y="1517685"/>
        <a:ext cx="1848877" cy="171442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3AD485-20A3-144C-8C01-0EC03628036B}" type="datetimeFigureOut">
              <a:rPr lang="en-US" smtClean="0"/>
              <a:t>11/11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FDA28D-9C8A-2548-BFE8-0F7760D019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60317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photo/two-persons-hand-shake-1179804/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Google Shape;13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39" name="Google Shape;13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5055562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Google Shape;182;g9f54024503_0_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83" name="Google Shape;183;g9f54024503_0_1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4" name="Google Shape;184;g9f54024503_0_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839920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Google Shape;199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0" name="Google Shape;200;p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01" name="Google Shape;201;p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/>
              <a:t>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67287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dirty="0">
                <a:hlinkClick r:id="rId3"/>
              </a:rPr>
              <a:t>https://www.pexels.com/photo/two-persons-hand-shake-1179804/</a:t>
            </a:r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C2241E-C706-479B-931A-817E52665D25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62160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D23186-E64C-7E4F-93B1-C1521A109D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A3157C3-1ED6-7143-85C0-400B12B77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E925D4-CAFD-1C4E-A643-FC9D95FC19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90A55D-7052-DA45-A62E-B5169B82B7CE}" type="datetimeFigureOut">
              <a:rPr lang="en-US" smtClean="0"/>
              <a:t>11/1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19DD14-BB29-EF4C-B642-07B2C3074F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68B7FE-0726-C64C-AAD5-9CD1072DE9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CDB8BC-DCF3-1D4A-9994-2276138F60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3954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4444F6-2D2E-ED46-AAD2-A86E743992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A475E6C-9FDD-A749-8086-FF1AF7F47A5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D9F556-E5BE-9B4B-9FF4-E57C1DDC97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90A55D-7052-DA45-A62E-B5169B82B7CE}" type="datetimeFigureOut">
              <a:rPr lang="en-US" smtClean="0"/>
              <a:t>11/1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D0ED8F-94F5-D347-ABCB-591D606466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D1A0A6-035B-A84A-A3A9-31F595CE1B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CDB8BC-DCF3-1D4A-9994-2276138F60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1864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80245BE-A1F0-5048-A813-B6DAB5676C9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A4761F6-A082-4C48-9967-BBD5F06B0C7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CC2924-9900-7A41-A54E-EB57E3DFDA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90A55D-7052-DA45-A62E-B5169B82B7CE}" type="datetimeFigureOut">
              <a:rPr lang="en-US" smtClean="0"/>
              <a:t>11/1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B93702-B8B3-814D-9181-06F9CADA71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30892D-CCCA-1840-87CA-F3E2B6DB49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CDB8BC-DCF3-1D4A-9994-2276138F60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0402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>
            <a:extLst>
              <a:ext uri="{FF2B5EF4-FFF2-40B4-BE49-F238E27FC236}">
                <a16:creationId xmlns:a16="http://schemas.microsoft.com/office/drawing/2014/main" id="{3A1D40A3-AF81-459C-B44A-339A9F592DA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36BCC78-3C9C-4AE8-A5C6-8EA0A420EF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69678" y="476672"/>
            <a:ext cx="6421034" cy="369332"/>
          </a:xfrm>
        </p:spPr>
        <p:txBody>
          <a:bodyPr lIns="0" tIns="0" rIns="0" bIns="0"/>
          <a:lstStyle>
            <a:lvl1pPr algn="l">
              <a:defRPr sz="24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919D244-69F4-469F-9697-A59D2BAC3E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9678" y="1268413"/>
            <a:ext cx="6421034" cy="1538883"/>
          </a:xfrm>
        </p:spPr>
        <p:txBody>
          <a:bodyPr wrap="square">
            <a:spAutoFit/>
          </a:bodyPr>
          <a:lstStyle>
            <a:lvl1pPr>
              <a:spcBef>
                <a:spcPts val="600"/>
              </a:spcBef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63525" indent="-263525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38163" indent="-274638">
              <a:spcBef>
                <a:spcPts val="600"/>
              </a:spcBef>
              <a:buFont typeface="Calibri" panose="020F0502020204030204" pitchFamily="34" charset="0"/>
              <a:buChar char="−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803275" indent="-265113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76325" indent="-273050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140393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25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3703E8-CBFA-7C49-86A7-0C112F9415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63D55C-5386-9D4D-88A1-E217504C7A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23328F-7CBC-ED40-9BE6-A2843EC406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90A55D-7052-DA45-A62E-B5169B82B7CE}" type="datetimeFigureOut">
              <a:rPr lang="en-US" smtClean="0"/>
              <a:t>11/1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B3E442-9769-0C45-B398-2CA1959EA0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0D7826-51FF-9741-8D08-042183461E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CDB8BC-DCF3-1D4A-9994-2276138F60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96540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A15FF3-40EA-384B-9E23-44202853E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2DE260-60D3-3943-A000-D4EA3BEF11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E19015-351D-A242-99A2-B37C831FF9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90A55D-7052-DA45-A62E-B5169B82B7CE}" type="datetimeFigureOut">
              <a:rPr lang="en-US" smtClean="0"/>
              <a:t>11/1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303C80-D381-9D4E-99E1-BF77E9036A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11A60F-027A-D644-8F14-7D959C9848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CDB8BC-DCF3-1D4A-9994-2276138F60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2824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C3CF87-98C0-994F-8BEF-DA4896212E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7C33FC-DE16-7A41-AE18-6023F648E1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A57B505-F409-4E41-8E27-E6E170F935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FF85BD-8D68-9740-8903-3EBA3BF663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90A55D-7052-DA45-A62E-B5169B82B7CE}" type="datetimeFigureOut">
              <a:rPr lang="en-US" smtClean="0"/>
              <a:t>11/11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DDFF53-E4DF-264B-A58D-5F012617B4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D7933B-894C-1748-A5A6-77F7BF7797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CDB8BC-DCF3-1D4A-9994-2276138F60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856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61599F-AEEB-0640-A87F-224A17710C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9D001A-B71E-C94E-8810-0DEF036BFF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5979093-0DD0-B242-ABC7-82FCBD19AF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F9F034-8E13-EE4C-9BCE-98FBF74E60C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30C18AB-6772-8945-AD9A-144F2A24F5A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7869E0B-4EBD-7E42-B2AC-282F883BD3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90A55D-7052-DA45-A62E-B5169B82B7CE}" type="datetimeFigureOut">
              <a:rPr lang="en-US" smtClean="0"/>
              <a:t>11/11/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78DF5C-AE2D-174F-97D3-62CE1EC2B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B207174-67D3-C049-8D20-5710D711B5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CDB8BC-DCF3-1D4A-9994-2276138F60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0841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0B36D-27FF-A14A-9373-A7B36E95B3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0736BA7-094F-6840-9B1D-277087BD6C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90A55D-7052-DA45-A62E-B5169B82B7CE}" type="datetimeFigureOut">
              <a:rPr lang="en-US" smtClean="0"/>
              <a:t>11/11/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7B1350-E9EF-9843-8A7D-936F0482E4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30B026-A0CC-7747-B5A9-7A126DEA2E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CDB8BC-DCF3-1D4A-9994-2276138F60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31283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AE758E8-55A3-5942-B446-08A51A0D53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90A55D-7052-DA45-A62E-B5169B82B7CE}" type="datetimeFigureOut">
              <a:rPr lang="en-US" smtClean="0"/>
              <a:t>11/11/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90CB16-3E01-D34D-8FC3-C0EE18069A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8DB287-296E-094D-B116-341A85A3FF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CDB8BC-DCF3-1D4A-9994-2276138F60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99565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C0A134-A4BE-4D4B-A3CC-83EBEFA2AD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D21B5F-0491-9746-8BD1-6FFC6BE45C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C1C480-7DEB-F440-B96A-71A057D3BDB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7310EE-5218-CB4A-B49D-32A18876DE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90A55D-7052-DA45-A62E-B5169B82B7CE}" type="datetimeFigureOut">
              <a:rPr lang="en-US" smtClean="0"/>
              <a:t>11/11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2CE80B-1380-2747-A27B-1362D7B295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85E0A7-D999-B843-B2A1-B5A6C3E7BA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CDB8BC-DCF3-1D4A-9994-2276138F60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99741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8DB5FE-FA12-BB4E-A4A6-7B62885BCD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700DDC5-8C00-A741-814B-E9E8047923F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3C21121-4346-FE43-BE2D-EAC46A1D9B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38371B-D2D4-AA4D-AE53-E9083A34C9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90A55D-7052-DA45-A62E-B5169B82B7CE}" type="datetimeFigureOut">
              <a:rPr lang="en-US" smtClean="0"/>
              <a:t>11/11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4F5F47B-647B-B14E-9673-61867DF959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9B11C8D-F523-DE4E-852D-8B9A2B48C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CDB8BC-DCF3-1D4A-9994-2276138F60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40647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9966A41-3349-2E44-94DF-D52B6C1E7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8B6CFD-6555-C647-A2D2-A8FAE2991C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EF51E6-8D50-764C-9EC6-3CE1827020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90A55D-7052-DA45-A62E-B5169B82B7CE}" type="datetimeFigureOut">
              <a:rPr lang="en-US" smtClean="0"/>
              <a:t>11/11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BBA1DF-941B-C840-A7E2-24CB5C9E0E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A73887-BA46-FA44-89CF-47ACFBFD70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CDB8BC-DCF3-1D4A-9994-2276138F60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06238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slideLayout" Target="../slideLayouts/slideLayout6.xml"/><Relationship Id="rId7" Type="http://schemas.openxmlformats.org/officeDocument/2006/relationships/diagramLayout" Target="../diagrams/layou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diagramData" Target="../diagrams/data1.xml"/><Relationship Id="rId5" Type="http://schemas.openxmlformats.org/officeDocument/2006/relationships/image" Target="../media/image4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1.bin"/><Relationship Id="rId9" Type="http://schemas.openxmlformats.org/officeDocument/2006/relationships/diagramColors" Target="../diagrams/colors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8AEAAB-DE07-E843-8DA6-36B7DA911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511362"/>
            <a:ext cx="9144000" cy="1651746"/>
          </a:xfrm>
        </p:spPr>
        <p:txBody>
          <a:bodyPr>
            <a:normAutofit/>
          </a:bodyPr>
          <a:lstStyle/>
          <a:p>
            <a:r>
              <a:rPr lang="nn-NO" sz="4400" b="1" dirty="0">
                <a:solidFill>
                  <a:schemeClr val="bg1"/>
                </a:solidFill>
                <a:latin typeface="+mn-lt"/>
              </a:rPr>
              <a:t>STRATEGI NASIONAL </a:t>
            </a:r>
            <a:br>
              <a:rPr lang="nn-NO" sz="4400" b="1" dirty="0">
                <a:solidFill>
                  <a:schemeClr val="bg1"/>
                </a:solidFill>
                <a:latin typeface="+mn-lt"/>
              </a:rPr>
            </a:br>
            <a:r>
              <a:rPr lang="nn-NO" sz="4400" b="1" dirty="0">
                <a:solidFill>
                  <a:schemeClr val="bg1"/>
                </a:solidFill>
                <a:latin typeface="+mn-lt"/>
              </a:rPr>
              <a:t>KECERDASAN ARTIFISIAL 2020-2045 </a:t>
            </a:r>
            <a:endParaRPr lang="en-US" sz="44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6ECF24-35F2-274C-9C07-DE0D1D640F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294824"/>
            <a:ext cx="9144000" cy="1651745"/>
          </a:xfrm>
        </p:spPr>
        <p:txBody>
          <a:bodyPr>
            <a:norm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RISET DAN INOVASI INDUSTRI</a:t>
            </a:r>
          </a:p>
          <a:p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8795608-F574-BC4D-90D5-3084DBFB3B83}"/>
              </a:ext>
            </a:extLst>
          </p:cNvPr>
          <p:cNvSpPr/>
          <p:nvPr/>
        </p:nvSpPr>
        <p:spPr>
          <a:xfrm>
            <a:off x="4572000" y="5432785"/>
            <a:ext cx="7144512" cy="7856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83333"/>
              </a:lnSpc>
            </a:pPr>
            <a:endParaRPr lang="en-US" b="1" spc="300" dirty="0">
              <a:solidFill>
                <a:schemeClr val="lt1"/>
              </a:solidFill>
              <a:latin typeface="Proxima Nova" panose="02000506030000020004" pitchFamily="2" charset="0"/>
              <a:ea typeface="Trebuchet MS"/>
              <a:cs typeface="Trebuchet MS"/>
              <a:sym typeface="Trebuchet MS"/>
            </a:endParaRPr>
          </a:p>
          <a:p>
            <a:pPr lvl="0" algn="r">
              <a:lnSpc>
                <a:spcPct val="83333"/>
              </a:lnSpc>
            </a:pPr>
            <a:r>
              <a:rPr lang="en-US" b="1" spc="300" dirty="0">
                <a:solidFill>
                  <a:schemeClr val="lt1"/>
                </a:solidFill>
                <a:latin typeface="Proxima Nova" panose="02000506030000020004" pitchFamily="2" charset="0"/>
                <a:ea typeface="Trebuchet MS"/>
                <a:cs typeface="Trebuchet MS"/>
                <a:sym typeface="Trebuchet MS"/>
              </a:rPr>
              <a:t>Dr. Ir. Indra </a:t>
            </a:r>
            <a:r>
              <a:rPr lang="en-US" b="1" spc="300" dirty="0" err="1">
                <a:solidFill>
                  <a:schemeClr val="lt1"/>
                </a:solidFill>
                <a:latin typeface="Proxima Nova" panose="02000506030000020004" pitchFamily="2" charset="0"/>
                <a:ea typeface="Trebuchet MS"/>
                <a:cs typeface="Trebuchet MS"/>
                <a:sym typeface="Trebuchet MS"/>
              </a:rPr>
              <a:t>Utoyo</a:t>
            </a:r>
            <a:r>
              <a:rPr lang="en-US" b="1" spc="300" dirty="0">
                <a:solidFill>
                  <a:schemeClr val="lt1"/>
                </a:solidFill>
                <a:latin typeface="Proxima Nova" panose="02000506030000020004" pitchFamily="2" charset="0"/>
                <a:ea typeface="Trebuchet MS"/>
                <a:cs typeface="Trebuchet MS"/>
                <a:sym typeface="Trebuchet MS"/>
              </a:rPr>
              <a:t>, M.Sc.</a:t>
            </a:r>
          </a:p>
          <a:p>
            <a:pPr lvl="0" algn="r">
              <a:lnSpc>
                <a:spcPct val="83333"/>
              </a:lnSpc>
            </a:pPr>
            <a:r>
              <a:rPr lang="en-US" b="1" spc="300" dirty="0" err="1">
                <a:solidFill>
                  <a:schemeClr val="lt1"/>
                </a:solidFill>
                <a:latin typeface="Proxima Nova" panose="02000506030000020004" pitchFamily="2" charset="0"/>
                <a:ea typeface="Trebuchet MS"/>
                <a:cs typeface="Trebuchet MS"/>
                <a:sym typeface="Trebuchet MS"/>
              </a:rPr>
              <a:t>Ketua</a:t>
            </a:r>
            <a:r>
              <a:rPr lang="en-US" b="1" spc="300" dirty="0">
                <a:solidFill>
                  <a:schemeClr val="lt1"/>
                </a:solidFill>
                <a:latin typeface="Proxima Nova" panose="02000506030000020004" pitchFamily="2" charset="0"/>
                <a:ea typeface="Trebuchet MS"/>
                <a:cs typeface="Trebuchet MS"/>
                <a:sym typeface="Trebuchet MS"/>
              </a:rPr>
              <a:t> </a:t>
            </a:r>
            <a:r>
              <a:rPr lang="en-US" b="1" spc="300" dirty="0" err="1">
                <a:solidFill>
                  <a:schemeClr val="lt1"/>
                </a:solidFill>
                <a:latin typeface="Proxima Nova" panose="02000506030000020004" pitchFamily="2" charset="0"/>
                <a:ea typeface="Trebuchet MS"/>
                <a:cs typeface="Trebuchet MS"/>
                <a:sym typeface="Trebuchet MS"/>
              </a:rPr>
              <a:t>Pokja</a:t>
            </a:r>
            <a:r>
              <a:rPr lang="en-US" b="1" spc="300" dirty="0">
                <a:solidFill>
                  <a:schemeClr val="lt1"/>
                </a:solidFill>
                <a:latin typeface="Proxima Nova" panose="02000506030000020004" pitchFamily="2" charset="0"/>
                <a:ea typeface="Trebuchet MS"/>
                <a:cs typeface="Trebuchet MS"/>
                <a:sym typeface="Trebuchet MS"/>
              </a:rPr>
              <a:t> </a:t>
            </a:r>
            <a:r>
              <a:rPr lang="en-US" b="1" spc="300" dirty="0" err="1">
                <a:solidFill>
                  <a:schemeClr val="lt1"/>
                </a:solidFill>
                <a:latin typeface="Proxima Nova" panose="02000506030000020004" pitchFamily="2" charset="0"/>
                <a:ea typeface="Trebuchet MS"/>
                <a:cs typeface="Trebuchet MS"/>
                <a:sym typeface="Trebuchet MS"/>
              </a:rPr>
              <a:t>Bidang</a:t>
            </a:r>
            <a:r>
              <a:rPr lang="en-US" b="1" spc="300" dirty="0">
                <a:solidFill>
                  <a:schemeClr val="lt1"/>
                </a:solidFill>
                <a:latin typeface="Proxima Nova" panose="02000506030000020004" pitchFamily="2" charset="0"/>
                <a:ea typeface="Trebuchet MS"/>
                <a:cs typeface="Trebuchet MS"/>
                <a:sym typeface="Trebuchet MS"/>
              </a:rPr>
              <a:t> </a:t>
            </a:r>
            <a:r>
              <a:rPr lang="en-US" b="1" spc="300" dirty="0" err="1">
                <a:solidFill>
                  <a:schemeClr val="lt1"/>
                </a:solidFill>
                <a:latin typeface="Proxima Nova" panose="02000506030000020004" pitchFamily="2" charset="0"/>
                <a:ea typeface="Trebuchet MS"/>
                <a:cs typeface="Trebuchet MS"/>
                <a:sym typeface="Trebuchet MS"/>
              </a:rPr>
              <a:t>Riset</a:t>
            </a:r>
            <a:r>
              <a:rPr lang="en-US" b="1" spc="300" dirty="0">
                <a:solidFill>
                  <a:schemeClr val="lt1"/>
                </a:solidFill>
                <a:latin typeface="Proxima Nova" panose="02000506030000020004" pitchFamily="2" charset="0"/>
                <a:ea typeface="Trebuchet MS"/>
                <a:cs typeface="Trebuchet MS"/>
                <a:sym typeface="Trebuchet MS"/>
              </a:rPr>
              <a:t> dan </a:t>
            </a:r>
            <a:r>
              <a:rPr lang="en-US" b="1" spc="300" dirty="0" err="1">
                <a:solidFill>
                  <a:schemeClr val="lt1"/>
                </a:solidFill>
                <a:latin typeface="Proxima Nova" panose="02000506030000020004" pitchFamily="2" charset="0"/>
                <a:ea typeface="Trebuchet MS"/>
                <a:cs typeface="Trebuchet MS"/>
                <a:sym typeface="Trebuchet MS"/>
              </a:rPr>
              <a:t>Inovasi</a:t>
            </a:r>
            <a:r>
              <a:rPr lang="en-US" b="1" spc="300" dirty="0">
                <a:solidFill>
                  <a:schemeClr val="lt1"/>
                </a:solidFill>
                <a:latin typeface="Proxima Nova" panose="02000506030000020004" pitchFamily="2" charset="0"/>
                <a:ea typeface="Trebuchet MS"/>
                <a:cs typeface="Trebuchet MS"/>
                <a:sym typeface="Trebuchet MS"/>
              </a:rPr>
              <a:t> </a:t>
            </a:r>
            <a:r>
              <a:rPr lang="en-US" b="1" spc="300" dirty="0" err="1">
                <a:solidFill>
                  <a:schemeClr val="lt1"/>
                </a:solidFill>
                <a:latin typeface="Proxima Nova" panose="02000506030000020004" pitchFamily="2" charset="0"/>
                <a:ea typeface="Trebuchet MS"/>
                <a:cs typeface="Trebuchet MS"/>
                <a:sym typeface="Trebuchet MS"/>
              </a:rPr>
              <a:t>Industri</a:t>
            </a:r>
            <a:endParaRPr lang="en-US" b="1" spc="300" dirty="0">
              <a:solidFill>
                <a:schemeClr val="lt1"/>
              </a:solidFill>
              <a:latin typeface="Proxima Nova" panose="02000506030000020004" pitchFamily="2" charset="0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4916231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Title 1">
            <a:extLst>
              <a:ext uri="{FF2B5EF4-FFF2-40B4-BE49-F238E27FC236}">
                <a16:creationId xmlns:a16="http://schemas.microsoft.com/office/drawing/2014/main" id="{59D6653B-D70A-4B0C-B4CE-D345141196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6295" y="1159870"/>
            <a:ext cx="9131808" cy="760110"/>
          </a:xfrm>
        </p:spPr>
        <p:txBody>
          <a:bodyPr>
            <a:noAutofit/>
          </a:bodyPr>
          <a:lstStyle/>
          <a:p>
            <a:pPr algn="ctr"/>
            <a:r>
              <a:rPr lang="en-IN" sz="2400" b="1" cap="all" dirty="0">
                <a:latin typeface="+mn-lt"/>
                <a:ea typeface="+mn-ea"/>
                <a:cs typeface="+mn-cs"/>
              </a:rPr>
              <a:t>Program-Program </a:t>
            </a:r>
            <a:r>
              <a:rPr lang="en-IN" sz="2400" b="1" cap="all" dirty="0" err="1">
                <a:latin typeface="+mn-lt"/>
                <a:ea typeface="+mn-ea"/>
                <a:cs typeface="+mn-cs"/>
              </a:rPr>
              <a:t>Inisiatif</a:t>
            </a:r>
            <a:r>
              <a:rPr lang="en-IN" sz="3200" b="1" cap="all" dirty="0">
                <a:latin typeface="+mn-lt"/>
                <a:ea typeface="+mn-ea"/>
                <a:cs typeface="+mn-cs"/>
              </a:rPr>
              <a:t> </a:t>
            </a:r>
            <a:br>
              <a:rPr lang="en-IN" sz="2800" b="1" cap="all" dirty="0">
                <a:latin typeface="+mn-lt"/>
                <a:ea typeface="+mn-ea"/>
                <a:cs typeface="+mn-cs"/>
              </a:rPr>
            </a:br>
            <a:r>
              <a:rPr lang="en-IN" sz="2800" b="1" cap="all" dirty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JANGKA PANJANG 2020-2045</a:t>
            </a:r>
            <a:endParaRPr lang="en-IN" sz="2000" b="1" cap="all" dirty="0">
              <a:solidFill>
                <a:schemeClr val="accent2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37FFA60-5AAC-584E-B245-100C6B398331}"/>
              </a:ext>
            </a:extLst>
          </p:cNvPr>
          <p:cNvSpPr/>
          <p:nvPr/>
        </p:nvSpPr>
        <p:spPr>
          <a:xfrm>
            <a:off x="985845" y="2040621"/>
            <a:ext cx="10432389" cy="412853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Ins="182880" rtlCol="0" anchor="ctr" anchorCtr="0"/>
          <a:lstStyle/>
          <a:p>
            <a:pPr marL="342900" indent="-342900" defTabSz="1218987">
              <a:buClr>
                <a:schemeClr val="tx1"/>
              </a:buClr>
              <a:buFont typeface="+mj-lt"/>
              <a:buAutoNum type="arabicPeriod"/>
            </a:pPr>
            <a:r>
              <a:rPr lang="en-US" sz="2000" kern="0" dirty="0" err="1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Pembentukan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kern="0" dirty="0" err="1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ekosistem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kern="0" dirty="0" err="1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riset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 dan </a:t>
            </a:r>
            <a:r>
              <a:rPr lang="en-US" sz="2000" kern="0" dirty="0" err="1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inovasi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kern="0" dirty="0" err="1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industri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kern="0" dirty="0" err="1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Kecerdasan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kern="0" dirty="0" err="1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Artifisial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 dan </a:t>
            </a:r>
            <a:r>
              <a:rPr lang="en-US" sz="2000" kern="0" dirty="0" err="1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adopsi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kern="0" dirty="0" err="1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Kecerdasan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kern="0" dirty="0" err="1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Artifisial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 yang solid </a:t>
            </a:r>
            <a:r>
              <a:rPr lang="en-US" sz="2000" kern="0" dirty="0" err="1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secara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kern="0" dirty="0" err="1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nasional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kern="0" dirty="0" err="1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melalui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b="1" kern="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tegrasi</a:t>
            </a:r>
            <a:r>
              <a:rPr lang="en-US" sz="2000" b="1" kern="0" dirty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dan</a:t>
            </a:r>
            <a:r>
              <a:rPr lang="en-US" sz="2000" b="1" kern="0" dirty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b="1" kern="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konektivitas</a:t>
            </a:r>
            <a:r>
              <a:rPr lang="en-US" sz="2000" b="1" kern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b="1" kern="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ari</a:t>
            </a:r>
            <a:r>
              <a:rPr lang="en-US" sz="2000" b="1" kern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b="1" kern="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eluruh</a:t>
            </a:r>
            <a:r>
              <a:rPr lang="en-US" sz="2000" b="1" kern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b="1" kern="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ektor</a:t>
            </a:r>
            <a:r>
              <a:rPr lang="en-US" sz="2000" b="1" kern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342900" indent="-342900" defTabSz="1218987">
              <a:buClr>
                <a:schemeClr val="tx1"/>
              </a:buClr>
              <a:buFont typeface="+mj-lt"/>
              <a:buAutoNum type="arabicPeriod"/>
            </a:pPr>
            <a:endParaRPr lang="en-US" sz="2000" kern="0" dirty="0">
              <a:solidFill>
                <a:schemeClr val="accent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defTabSz="1218987">
              <a:buClr>
                <a:schemeClr val="tx1"/>
              </a:buClr>
              <a:buFont typeface="+mj-lt"/>
              <a:buAutoNum type="arabicPeriod"/>
            </a:pPr>
            <a:r>
              <a:rPr lang="en-US" sz="2000" b="1" kern="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eningkatan</a:t>
            </a:r>
            <a:r>
              <a:rPr lang="en-US" sz="2000" b="1" kern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b="1" kern="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dopsi</a:t>
            </a:r>
            <a:r>
              <a:rPr lang="en-US" sz="2000" b="1" kern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b="1" kern="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ovasi</a:t>
            </a:r>
            <a:r>
              <a:rPr lang="en-US" sz="2000" kern="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kern="0" dirty="0" err="1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Kecerdasan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kern="0" dirty="0" err="1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Artifisial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kern="0" dirty="0" err="1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unggulan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b="1" kern="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ke</a:t>
            </a:r>
            <a:r>
              <a:rPr lang="en-US" sz="2000" b="1" kern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b="1" kern="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eluruh</a:t>
            </a:r>
            <a:r>
              <a:rPr lang="en-US" sz="2000" b="1" kern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b="1" kern="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ektor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, dan </a:t>
            </a:r>
            <a:r>
              <a:rPr lang="en-US" sz="2000" kern="0" dirty="0" err="1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persiapan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kern="0" dirty="0" err="1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perluasan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kern="0" dirty="0" err="1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Kecerdasan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kern="0" dirty="0" err="1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Artifisial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b="1" kern="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kala</a:t>
            </a:r>
            <a:r>
              <a:rPr lang="en-US" sz="2000" b="1" kern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regional</a:t>
            </a:r>
            <a:r>
              <a:rPr lang="en-US" sz="2000" kern="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342900" indent="-342900" defTabSz="1218987">
              <a:buClr>
                <a:schemeClr val="tx1"/>
              </a:buClr>
              <a:buFont typeface="+mj-lt"/>
              <a:buAutoNum type="arabicPeriod"/>
            </a:pPr>
            <a:endParaRPr lang="en-US" sz="2000" kern="0" dirty="0">
              <a:solidFill>
                <a:prstClr val="black">
                  <a:lumMod val="85000"/>
                  <a:lumOff val="15000"/>
                </a:prstClr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defTabSz="1218987">
              <a:buClr>
                <a:schemeClr val="tx1"/>
              </a:buClr>
              <a:buFont typeface="+mj-lt"/>
              <a:buAutoNum type="arabicPeriod"/>
            </a:pPr>
            <a:r>
              <a:rPr lang="en-US" sz="2000" b="1" kern="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enguatan</a:t>
            </a:r>
            <a:r>
              <a:rPr lang="en-US" sz="2000" b="1" kern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b="1" kern="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eluruh</a:t>
            </a:r>
            <a:r>
              <a:rPr lang="en-US" sz="2000" b="1" kern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b="1" kern="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umber</a:t>
            </a:r>
            <a:r>
              <a:rPr lang="en-US" sz="2000" b="1" kern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b="1" kern="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aya</a:t>
            </a:r>
            <a:r>
              <a:rPr lang="en-US" sz="2000" b="1" kern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dan enabler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2000" kern="0" dirty="0" err="1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termasuk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kern="0" dirty="0" err="1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kebijakan-kebijakan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, yang </a:t>
            </a:r>
            <a:r>
              <a:rPr lang="en-US" sz="2000" kern="0" dirty="0" err="1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dibutuhkan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kern="0" dirty="0" err="1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untuk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 strategi </a:t>
            </a:r>
            <a:r>
              <a:rPr lang="en-US" sz="2000" kern="0" dirty="0" err="1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jangka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kern="0" dirty="0" err="1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panjang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342900" indent="-342900" defTabSz="1218987">
              <a:buClr>
                <a:schemeClr val="tx1"/>
              </a:buClr>
              <a:buFont typeface="+mj-lt"/>
              <a:buAutoNum type="arabicPeriod"/>
            </a:pPr>
            <a:endParaRPr lang="en-US" sz="2000" kern="0" dirty="0">
              <a:solidFill>
                <a:prstClr val="black">
                  <a:lumMod val="85000"/>
                  <a:lumOff val="15000"/>
                </a:prstClr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defTabSz="1218987">
              <a:buClr>
                <a:schemeClr val="tx1"/>
              </a:buClr>
              <a:buFont typeface="+mj-lt"/>
              <a:buAutoNum type="arabicPeriod"/>
            </a:pPr>
            <a:r>
              <a:rPr lang="en-US" sz="2000" b="1" kern="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encapaian</a:t>
            </a:r>
            <a:r>
              <a:rPr lang="en-US" sz="2000" b="1" kern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b="1" kern="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konomi</a:t>
            </a:r>
            <a:r>
              <a:rPr lang="en-US" sz="2000" b="1" kern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kern="0" dirty="0" err="1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berbasis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kern="0" dirty="0" err="1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Kecerdasan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kern="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rtifisial</a:t>
            </a:r>
            <a:r>
              <a:rPr lang="en-US" sz="2000" kern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b="1" kern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op 10 Dunia (2030) 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dan </a:t>
            </a:r>
            <a:r>
              <a:rPr lang="en-US" sz="2000" b="1" kern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op 5 Dunia (2045) </a:t>
            </a:r>
            <a:r>
              <a:rPr lang="en-US" sz="2000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itchFamily="34" charset="0"/>
                <a:cs typeface="Arial" pitchFamily="34" charset="0"/>
              </a:rPr>
              <a:t>pada </a:t>
            </a:r>
            <a:r>
              <a:rPr lang="en-US" sz="2000" b="1" kern="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Bidang</a:t>
            </a:r>
            <a:r>
              <a:rPr lang="en-US" sz="2000" b="1" kern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000" b="1" kern="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gro-Maritim</a:t>
            </a:r>
            <a:r>
              <a:rPr lang="en-US" sz="2000" b="1" kern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0499847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86800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17"/>
          <p:cNvSpPr/>
          <p:nvPr/>
        </p:nvSpPr>
        <p:spPr>
          <a:xfrm>
            <a:off x="1730139" y="1235038"/>
            <a:ext cx="9939253" cy="5378231"/>
          </a:xfrm>
          <a:custGeom>
            <a:avLst/>
            <a:gdLst/>
            <a:ahLst/>
            <a:cxnLst/>
            <a:rect l="l" t="t" r="r" b="b"/>
            <a:pathLst>
              <a:path w="5616624" h="5301445" extrusionOk="0">
                <a:moveTo>
                  <a:pt x="0" y="0"/>
                </a:moveTo>
                <a:lnTo>
                  <a:pt x="5616624" y="0"/>
                </a:lnTo>
                <a:lnTo>
                  <a:pt x="5616624" y="5301445"/>
                </a:lnTo>
                <a:lnTo>
                  <a:pt x="1133786" y="5301445"/>
                </a:lnTo>
                <a:lnTo>
                  <a:pt x="0" y="416765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14901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 sz="2400">
              <a:solidFill>
                <a:schemeClr val="lt1"/>
              </a:solidFill>
              <a:latin typeface="Proxima Nova" panose="02000506030000020004" pitchFamily="2" charset="0"/>
              <a:ea typeface="Calibri"/>
              <a:cs typeface="Calibri"/>
              <a:sym typeface="Calibri"/>
            </a:endParaRPr>
          </a:p>
        </p:txBody>
      </p:sp>
      <p:grpSp>
        <p:nvGrpSpPr>
          <p:cNvPr id="142" name="Google Shape;142;p17"/>
          <p:cNvGrpSpPr/>
          <p:nvPr/>
        </p:nvGrpSpPr>
        <p:grpSpPr>
          <a:xfrm>
            <a:off x="0" y="2505894"/>
            <a:ext cx="2366221" cy="3273362"/>
            <a:chOff x="333772" y="808239"/>
            <a:chExt cx="4238227" cy="6081194"/>
          </a:xfrm>
        </p:grpSpPr>
        <p:sp>
          <p:nvSpPr>
            <p:cNvPr id="143" name="Google Shape;143;p17"/>
            <p:cNvSpPr/>
            <p:nvPr/>
          </p:nvSpPr>
          <p:spPr>
            <a:xfrm flipH="1">
              <a:off x="349319" y="822960"/>
              <a:ext cx="4222680" cy="6066473"/>
            </a:xfrm>
            <a:custGeom>
              <a:avLst/>
              <a:gdLst/>
              <a:ahLst/>
              <a:cxnLst/>
              <a:rect l="l" t="t" r="r" b="b"/>
              <a:pathLst>
                <a:path w="1408" h="2025" extrusionOk="0">
                  <a:moveTo>
                    <a:pt x="1160" y="1426"/>
                  </a:moveTo>
                  <a:cubicBezTo>
                    <a:pt x="1160" y="1426"/>
                    <a:pt x="1160" y="1426"/>
                    <a:pt x="1160" y="1426"/>
                  </a:cubicBezTo>
                  <a:cubicBezTo>
                    <a:pt x="1160" y="1417"/>
                    <a:pt x="1160" y="1417"/>
                    <a:pt x="1160" y="1417"/>
                  </a:cubicBezTo>
                  <a:cubicBezTo>
                    <a:pt x="1160" y="1403"/>
                    <a:pt x="1149" y="1392"/>
                    <a:pt x="1135" y="1392"/>
                  </a:cubicBezTo>
                  <a:cubicBezTo>
                    <a:pt x="1126" y="1392"/>
                    <a:pt x="1126" y="1392"/>
                    <a:pt x="1126" y="1392"/>
                  </a:cubicBezTo>
                  <a:cubicBezTo>
                    <a:pt x="1111" y="1376"/>
                    <a:pt x="1087" y="1347"/>
                    <a:pt x="1060" y="1302"/>
                  </a:cubicBezTo>
                  <a:cubicBezTo>
                    <a:pt x="1037" y="1169"/>
                    <a:pt x="1037" y="1169"/>
                    <a:pt x="1037" y="1169"/>
                  </a:cubicBezTo>
                  <a:cubicBezTo>
                    <a:pt x="1036" y="1181"/>
                    <a:pt x="1036" y="1192"/>
                    <a:pt x="1036" y="1203"/>
                  </a:cubicBezTo>
                  <a:cubicBezTo>
                    <a:pt x="1036" y="1203"/>
                    <a:pt x="1036" y="1203"/>
                    <a:pt x="1036" y="1203"/>
                  </a:cubicBezTo>
                  <a:cubicBezTo>
                    <a:pt x="1025" y="1153"/>
                    <a:pt x="1021" y="1115"/>
                    <a:pt x="1022" y="1081"/>
                  </a:cubicBezTo>
                  <a:cubicBezTo>
                    <a:pt x="1037" y="1169"/>
                    <a:pt x="1037" y="1169"/>
                    <a:pt x="1037" y="1169"/>
                  </a:cubicBezTo>
                  <a:cubicBezTo>
                    <a:pt x="1039" y="1145"/>
                    <a:pt x="1043" y="1119"/>
                    <a:pt x="1050" y="1092"/>
                  </a:cubicBezTo>
                  <a:cubicBezTo>
                    <a:pt x="1066" y="1033"/>
                    <a:pt x="1087" y="968"/>
                    <a:pt x="1060" y="907"/>
                  </a:cubicBezTo>
                  <a:cubicBezTo>
                    <a:pt x="1063" y="893"/>
                    <a:pt x="1067" y="878"/>
                    <a:pt x="1069" y="861"/>
                  </a:cubicBezTo>
                  <a:cubicBezTo>
                    <a:pt x="1077" y="815"/>
                    <a:pt x="1063" y="776"/>
                    <a:pt x="1043" y="744"/>
                  </a:cubicBezTo>
                  <a:cubicBezTo>
                    <a:pt x="1056" y="692"/>
                    <a:pt x="1063" y="629"/>
                    <a:pt x="1057" y="546"/>
                  </a:cubicBezTo>
                  <a:cubicBezTo>
                    <a:pt x="1061" y="546"/>
                    <a:pt x="1065" y="546"/>
                    <a:pt x="1069" y="545"/>
                  </a:cubicBezTo>
                  <a:cubicBezTo>
                    <a:pt x="1069" y="545"/>
                    <a:pt x="1078" y="115"/>
                    <a:pt x="635" y="58"/>
                  </a:cubicBezTo>
                  <a:cubicBezTo>
                    <a:pt x="191" y="0"/>
                    <a:pt x="22" y="446"/>
                    <a:pt x="143" y="658"/>
                  </a:cubicBezTo>
                  <a:cubicBezTo>
                    <a:pt x="143" y="658"/>
                    <a:pt x="154" y="692"/>
                    <a:pt x="130" y="715"/>
                  </a:cubicBezTo>
                  <a:cubicBezTo>
                    <a:pt x="107" y="737"/>
                    <a:pt x="0" y="865"/>
                    <a:pt x="23" y="887"/>
                  </a:cubicBezTo>
                  <a:cubicBezTo>
                    <a:pt x="45" y="909"/>
                    <a:pt x="111" y="917"/>
                    <a:pt x="122" y="924"/>
                  </a:cubicBezTo>
                  <a:cubicBezTo>
                    <a:pt x="134" y="931"/>
                    <a:pt x="111" y="964"/>
                    <a:pt x="111" y="964"/>
                  </a:cubicBezTo>
                  <a:cubicBezTo>
                    <a:pt x="141" y="998"/>
                    <a:pt x="141" y="998"/>
                    <a:pt x="141" y="998"/>
                  </a:cubicBezTo>
                  <a:cubicBezTo>
                    <a:pt x="141" y="998"/>
                    <a:pt x="192" y="993"/>
                    <a:pt x="233" y="994"/>
                  </a:cubicBezTo>
                  <a:cubicBezTo>
                    <a:pt x="236" y="998"/>
                    <a:pt x="239" y="1002"/>
                    <a:pt x="242" y="1006"/>
                  </a:cubicBezTo>
                  <a:cubicBezTo>
                    <a:pt x="201" y="1006"/>
                    <a:pt x="145" y="1013"/>
                    <a:pt x="145" y="1013"/>
                  </a:cubicBezTo>
                  <a:cubicBezTo>
                    <a:pt x="145" y="1013"/>
                    <a:pt x="140" y="1041"/>
                    <a:pt x="149" y="1050"/>
                  </a:cubicBezTo>
                  <a:cubicBezTo>
                    <a:pt x="158" y="1059"/>
                    <a:pt x="186" y="1087"/>
                    <a:pt x="187" y="1108"/>
                  </a:cubicBezTo>
                  <a:cubicBezTo>
                    <a:pt x="188" y="1129"/>
                    <a:pt x="152" y="1195"/>
                    <a:pt x="288" y="1189"/>
                  </a:cubicBezTo>
                  <a:cubicBezTo>
                    <a:pt x="335" y="1188"/>
                    <a:pt x="387" y="1177"/>
                    <a:pt x="436" y="1157"/>
                  </a:cubicBezTo>
                  <a:cubicBezTo>
                    <a:pt x="484" y="1202"/>
                    <a:pt x="541" y="1279"/>
                    <a:pt x="530" y="1392"/>
                  </a:cubicBezTo>
                  <a:cubicBezTo>
                    <a:pt x="517" y="1393"/>
                    <a:pt x="507" y="1404"/>
                    <a:pt x="507" y="1417"/>
                  </a:cubicBezTo>
                  <a:cubicBezTo>
                    <a:pt x="507" y="1426"/>
                    <a:pt x="507" y="1426"/>
                    <a:pt x="507" y="1426"/>
                  </a:cubicBezTo>
                  <a:cubicBezTo>
                    <a:pt x="507" y="1430"/>
                    <a:pt x="508" y="1434"/>
                    <a:pt x="510" y="1437"/>
                  </a:cubicBezTo>
                  <a:cubicBezTo>
                    <a:pt x="452" y="1456"/>
                    <a:pt x="383" y="1491"/>
                    <a:pt x="314" y="1559"/>
                  </a:cubicBezTo>
                  <a:cubicBezTo>
                    <a:pt x="141" y="1729"/>
                    <a:pt x="103" y="1977"/>
                    <a:pt x="103" y="1977"/>
                  </a:cubicBezTo>
                  <a:cubicBezTo>
                    <a:pt x="103" y="1977"/>
                    <a:pt x="87" y="2019"/>
                    <a:pt x="162" y="2022"/>
                  </a:cubicBezTo>
                  <a:cubicBezTo>
                    <a:pt x="236" y="2025"/>
                    <a:pt x="633" y="2022"/>
                    <a:pt x="633" y="2022"/>
                  </a:cubicBezTo>
                  <a:cubicBezTo>
                    <a:pt x="810" y="2022"/>
                    <a:pt x="810" y="2022"/>
                    <a:pt x="810" y="2022"/>
                  </a:cubicBezTo>
                  <a:cubicBezTo>
                    <a:pt x="810" y="2023"/>
                    <a:pt x="810" y="2023"/>
                    <a:pt x="810" y="2023"/>
                  </a:cubicBezTo>
                  <a:cubicBezTo>
                    <a:pt x="1192" y="2023"/>
                    <a:pt x="1192" y="2023"/>
                    <a:pt x="1192" y="2023"/>
                  </a:cubicBezTo>
                  <a:cubicBezTo>
                    <a:pt x="1192" y="2022"/>
                    <a:pt x="1192" y="2022"/>
                    <a:pt x="1192" y="2022"/>
                  </a:cubicBezTo>
                  <a:cubicBezTo>
                    <a:pt x="1245" y="2022"/>
                    <a:pt x="1245" y="2022"/>
                    <a:pt x="1245" y="2022"/>
                  </a:cubicBezTo>
                  <a:cubicBezTo>
                    <a:pt x="1263" y="2022"/>
                    <a:pt x="1263" y="2022"/>
                    <a:pt x="1263" y="2022"/>
                  </a:cubicBezTo>
                  <a:cubicBezTo>
                    <a:pt x="1367" y="2022"/>
                    <a:pt x="1367" y="2022"/>
                    <a:pt x="1367" y="2022"/>
                  </a:cubicBezTo>
                  <a:cubicBezTo>
                    <a:pt x="1367" y="2022"/>
                    <a:pt x="1401" y="2019"/>
                    <a:pt x="1401" y="1974"/>
                  </a:cubicBezTo>
                  <a:cubicBezTo>
                    <a:pt x="1401" y="1931"/>
                    <a:pt x="1408" y="1494"/>
                    <a:pt x="1160" y="1426"/>
                  </a:cubicBezTo>
                  <a:close/>
                  <a:moveTo>
                    <a:pt x="1010" y="1202"/>
                  </a:moveTo>
                  <a:cubicBezTo>
                    <a:pt x="991" y="1158"/>
                    <a:pt x="974" y="1106"/>
                    <a:pt x="960" y="1045"/>
                  </a:cubicBezTo>
                  <a:cubicBezTo>
                    <a:pt x="948" y="994"/>
                    <a:pt x="958" y="954"/>
                    <a:pt x="974" y="913"/>
                  </a:cubicBezTo>
                  <a:cubicBezTo>
                    <a:pt x="1019" y="1208"/>
                    <a:pt x="1019" y="1208"/>
                    <a:pt x="1019" y="1208"/>
                  </a:cubicBezTo>
                  <a:cubicBezTo>
                    <a:pt x="1016" y="1205"/>
                    <a:pt x="1013" y="1203"/>
                    <a:pt x="1010" y="120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chemeClr val="dk1"/>
                </a:solidFill>
                <a:latin typeface="Proxima Nova" panose="02000506030000020004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144;p17"/>
            <p:cNvSpPr/>
            <p:nvPr/>
          </p:nvSpPr>
          <p:spPr>
            <a:xfrm flipH="1">
              <a:off x="1286411" y="2748847"/>
              <a:ext cx="468118" cy="2309046"/>
            </a:xfrm>
            <a:custGeom>
              <a:avLst/>
              <a:gdLst/>
              <a:ahLst/>
              <a:cxnLst/>
              <a:rect l="l" t="t" r="r" b="b"/>
              <a:pathLst>
                <a:path w="156" h="771" extrusionOk="0">
                  <a:moveTo>
                    <a:pt x="0" y="0"/>
                  </a:moveTo>
                  <a:cubicBezTo>
                    <a:pt x="0" y="0"/>
                    <a:pt x="156" y="78"/>
                    <a:pt x="134" y="213"/>
                  </a:cubicBezTo>
                  <a:cubicBezTo>
                    <a:pt x="113" y="348"/>
                    <a:pt x="63" y="389"/>
                    <a:pt x="101" y="555"/>
                  </a:cubicBezTo>
                  <a:cubicBezTo>
                    <a:pt x="140" y="720"/>
                    <a:pt x="115" y="771"/>
                    <a:pt x="115" y="771"/>
                  </a:cubicBezTo>
                </a:path>
              </a:pathLst>
            </a:custGeom>
            <a:noFill/>
            <a:ln w="76200" cap="flat" cmpd="sng">
              <a:solidFill>
                <a:srgbClr val="0875FB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chemeClr val="dk1"/>
                </a:solidFill>
                <a:latin typeface="Proxima Nova" panose="02000506030000020004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145;p17"/>
            <p:cNvSpPr/>
            <p:nvPr/>
          </p:nvSpPr>
          <p:spPr>
            <a:xfrm flipH="1">
              <a:off x="1233416" y="3263651"/>
              <a:ext cx="394936" cy="1606239"/>
            </a:xfrm>
            <a:custGeom>
              <a:avLst/>
              <a:gdLst/>
              <a:ahLst/>
              <a:cxnLst/>
              <a:rect l="l" t="t" r="r" b="b"/>
              <a:pathLst>
                <a:path w="132" h="536" extrusionOk="0">
                  <a:moveTo>
                    <a:pt x="92" y="536"/>
                  </a:moveTo>
                  <a:cubicBezTo>
                    <a:pt x="92" y="536"/>
                    <a:pt x="33" y="426"/>
                    <a:pt x="73" y="272"/>
                  </a:cubicBezTo>
                  <a:cubicBezTo>
                    <a:pt x="96" y="184"/>
                    <a:pt x="132" y="81"/>
                    <a:pt x="0" y="0"/>
                  </a:cubicBezTo>
                </a:path>
              </a:pathLst>
            </a:custGeom>
            <a:noFill/>
            <a:ln w="76200" cap="flat" cmpd="sng">
              <a:solidFill>
                <a:srgbClr val="9CC8FE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chemeClr val="dk1"/>
                </a:solidFill>
                <a:latin typeface="Proxima Nova" panose="02000506030000020004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146;p17"/>
            <p:cNvSpPr/>
            <p:nvPr/>
          </p:nvSpPr>
          <p:spPr>
            <a:xfrm flipH="1">
              <a:off x="1146354" y="1787375"/>
              <a:ext cx="2292643" cy="3226356"/>
            </a:xfrm>
            <a:custGeom>
              <a:avLst/>
              <a:gdLst/>
              <a:ahLst/>
              <a:cxnLst/>
              <a:rect l="l" t="t" r="r" b="b"/>
              <a:pathLst>
                <a:path w="765" h="1077" extrusionOk="0">
                  <a:moveTo>
                    <a:pt x="0" y="785"/>
                  </a:moveTo>
                  <a:cubicBezTo>
                    <a:pt x="0" y="785"/>
                    <a:pt x="183" y="878"/>
                    <a:pt x="155" y="1077"/>
                  </a:cubicBezTo>
                  <a:cubicBezTo>
                    <a:pt x="765" y="1077"/>
                    <a:pt x="765" y="1077"/>
                    <a:pt x="765" y="1077"/>
                  </a:cubicBezTo>
                  <a:cubicBezTo>
                    <a:pt x="765" y="1077"/>
                    <a:pt x="644" y="970"/>
                    <a:pt x="587" y="718"/>
                  </a:cubicBezTo>
                  <a:cubicBezTo>
                    <a:pt x="548" y="544"/>
                    <a:pt x="748" y="505"/>
                    <a:pt x="667" y="104"/>
                  </a:cubicBezTo>
                  <a:cubicBezTo>
                    <a:pt x="667" y="104"/>
                    <a:pt x="320" y="0"/>
                    <a:pt x="191" y="303"/>
                  </a:cubicBezTo>
                  <a:cubicBezTo>
                    <a:pt x="62" y="607"/>
                    <a:pt x="175" y="679"/>
                    <a:pt x="0" y="785"/>
                  </a:cubicBezTo>
                  <a:close/>
                </a:path>
              </a:pathLst>
            </a:custGeom>
            <a:solidFill>
              <a:srgbClr val="3E7CF9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chemeClr val="dk1"/>
                </a:solidFill>
                <a:latin typeface="Proxima Nova" panose="02000506030000020004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147;p17"/>
            <p:cNvSpPr/>
            <p:nvPr/>
          </p:nvSpPr>
          <p:spPr>
            <a:xfrm flipH="1">
              <a:off x="1865565" y="2251708"/>
              <a:ext cx="1495202" cy="2997976"/>
            </a:xfrm>
            <a:custGeom>
              <a:avLst/>
              <a:gdLst/>
              <a:ahLst/>
              <a:cxnLst/>
              <a:rect l="l" t="t" r="r" b="b"/>
              <a:pathLst>
                <a:path w="499" h="1001" extrusionOk="0">
                  <a:moveTo>
                    <a:pt x="0" y="572"/>
                  </a:moveTo>
                  <a:cubicBezTo>
                    <a:pt x="0" y="572"/>
                    <a:pt x="233" y="730"/>
                    <a:pt x="171" y="1001"/>
                  </a:cubicBezTo>
                  <a:cubicBezTo>
                    <a:pt x="496" y="1001"/>
                    <a:pt x="496" y="1001"/>
                    <a:pt x="496" y="1001"/>
                  </a:cubicBezTo>
                  <a:cubicBezTo>
                    <a:pt x="496" y="1001"/>
                    <a:pt x="337" y="696"/>
                    <a:pt x="418" y="404"/>
                  </a:cubicBezTo>
                  <a:cubicBezTo>
                    <a:pt x="499" y="112"/>
                    <a:pt x="455" y="51"/>
                    <a:pt x="431" y="0"/>
                  </a:cubicBezTo>
                  <a:cubicBezTo>
                    <a:pt x="431" y="0"/>
                    <a:pt x="257" y="4"/>
                    <a:pt x="185" y="159"/>
                  </a:cubicBezTo>
                  <a:cubicBezTo>
                    <a:pt x="112" y="314"/>
                    <a:pt x="281" y="448"/>
                    <a:pt x="0" y="572"/>
                  </a:cubicBezTo>
                  <a:close/>
                </a:path>
              </a:pathLst>
            </a:custGeom>
            <a:solidFill>
              <a:srgbClr val="042F8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chemeClr val="dk1"/>
                </a:solidFill>
                <a:latin typeface="Proxima Nova" panose="02000506030000020004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148;p17"/>
            <p:cNvSpPr/>
            <p:nvPr/>
          </p:nvSpPr>
          <p:spPr>
            <a:xfrm flipH="1">
              <a:off x="771608" y="5220662"/>
              <a:ext cx="2175298" cy="1644092"/>
            </a:xfrm>
            <a:custGeom>
              <a:avLst/>
              <a:gdLst/>
              <a:ahLst/>
              <a:cxnLst/>
              <a:rect l="l" t="t" r="r" b="b"/>
              <a:pathLst>
                <a:path w="1724" h="1303" extrusionOk="0">
                  <a:moveTo>
                    <a:pt x="1724" y="1303"/>
                  </a:moveTo>
                  <a:lnTo>
                    <a:pt x="0" y="1303"/>
                  </a:lnTo>
                  <a:lnTo>
                    <a:pt x="0" y="0"/>
                  </a:lnTo>
                  <a:lnTo>
                    <a:pt x="1520" y="0"/>
                  </a:lnTo>
                  <a:lnTo>
                    <a:pt x="1589" y="114"/>
                  </a:lnTo>
                  <a:lnTo>
                    <a:pt x="1724" y="218"/>
                  </a:lnTo>
                  <a:lnTo>
                    <a:pt x="1724" y="1303"/>
                  </a:lnTo>
                  <a:close/>
                </a:path>
              </a:pathLst>
            </a:custGeom>
            <a:solidFill>
              <a:srgbClr val="042F8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chemeClr val="dk1"/>
                </a:solidFill>
                <a:latin typeface="Proxima Nova" panose="02000506030000020004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149;p17"/>
            <p:cNvSpPr/>
            <p:nvPr/>
          </p:nvSpPr>
          <p:spPr>
            <a:xfrm flipH="1">
              <a:off x="2763946" y="2716041"/>
              <a:ext cx="1187329" cy="1504034"/>
            </a:xfrm>
            <a:custGeom>
              <a:avLst/>
              <a:gdLst/>
              <a:ahLst/>
              <a:cxnLst/>
              <a:rect l="l" t="t" r="r" b="b"/>
              <a:pathLst>
                <a:path w="396" h="502" extrusionOk="0">
                  <a:moveTo>
                    <a:pt x="0" y="326"/>
                  </a:moveTo>
                  <a:cubicBezTo>
                    <a:pt x="0" y="326"/>
                    <a:pt x="85" y="400"/>
                    <a:pt x="72" y="451"/>
                  </a:cubicBezTo>
                  <a:cubicBezTo>
                    <a:pt x="60" y="502"/>
                    <a:pt x="396" y="397"/>
                    <a:pt x="394" y="198"/>
                  </a:cubicBezTo>
                  <a:cubicBezTo>
                    <a:pt x="392" y="0"/>
                    <a:pt x="0" y="326"/>
                    <a:pt x="0" y="326"/>
                  </a:cubicBezTo>
                  <a:close/>
                </a:path>
              </a:pathLst>
            </a:custGeom>
            <a:solidFill>
              <a:srgbClr val="024DAB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chemeClr val="dk1"/>
                </a:solidFill>
                <a:latin typeface="Proxima Nova" panose="02000506030000020004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150;p17"/>
            <p:cNvSpPr/>
            <p:nvPr/>
          </p:nvSpPr>
          <p:spPr>
            <a:xfrm flipH="1">
              <a:off x="1619519" y="2728658"/>
              <a:ext cx="902168" cy="900907"/>
            </a:xfrm>
            <a:custGeom>
              <a:avLst/>
              <a:gdLst/>
              <a:ahLst/>
              <a:cxnLst/>
              <a:rect l="l" t="t" r="r" b="b"/>
              <a:pathLst>
                <a:path w="301" h="301" extrusionOk="0">
                  <a:moveTo>
                    <a:pt x="151" y="0"/>
                  </a:moveTo>
                  <a:cubicBezTo>
                    <a:pt x="67" y="0"/>
                    <a:pt x="0" y="67"/>
                    <a:pt x="0" y="150"/>
                  </a:cubicBezTo>
                  <a:cubicBezTo>
                    <a:pt x="0" y="234"/>
                    <a:pt x="67" y="301"/>
                    <a:pt x="151" y="301"/>
                  </a:cubicBezTo>
                  <a:cubicBezTo>
                    <a:pt x="234" y="301"/>
                    <a:pt x="301" y="234"/>
                    <a:pt x="301" y="150"/>
                  </a:cubicBezTo>
                  <a:cubicBezTo>
                    <a:pt x="301" y="67"/>
                    <a:pt x="234" y="0"/>
                    <a:pt x="151" y="0"/>
                  </a:cubicBezTo>
                  <a:close/>
                  <a:moveTo>
                    <a:pt x="151" y="246"/>
                  </a:moveTo>
                  <a:cubicBezTo>
                    <a:pt x="98" y="246"/>
                    <a:pt x="55" y="203"/>
                    <a:pt x="55" y="150"/>
                  </a:cubicBezTo>
                  <a:cubicBezTo>
                    <a:pt x="55" y="98"/>
                    <a:pt x="98" y="55"/>
                    <a:pt x="151" y="55"/>
                  </a:cubicBezTo>
                  <a:cubicBezTo>
                    <a:pt x="203" y="55"/>
                    <a:pt x="246" y="98"/>
                    <a:pt x="246" y="150"/>
                  </a:cubicBezTo>
                  <a:cubicBezTo>
                    <a:pt x="246" y="203"/>
                    <a:pt x="203" y="246"/>
                    <a:pt x="151" y="246"/>
                  </a:cubicBezTo>
                  <a:close/>
                </a:path>
              </a:pathLst>
            </a:custGeom>
            <a:solidFill>
              <a:srgbClr val="7EA8FB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chemeClr val="dk1"/>
                </a:solidFill>
                <a:latin typeface="Proxima Nova" panose="02000506030000020004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" name="Google Shape;151;p17"/>
            <p:cNvSpPr/>
            <p:nvPr/>
          </p:nvSpPr>
          <p:spPr>
            <a:xfrm flipH="1">
              <a:off x="1813832" y="2922972"/>
              <a:ext cx="513542" cy="512280"/>
            </a:xfrm>
            <a:prstGeom prst="ellipse">
              <a:avLst/>
            </a:prstGeom>
            <a:solidFill>
              <a:srgbClr val="BDDAFE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chemeClr val="dk1"/>
                </a:solidFill>
                <a:latin typeface="Proxima Nova" panose="02000506030000020004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Google Shape;152;p17"/>
            <p:cNvSpPr/>
            <p:nvPr/>
          </p:nvSpPr>
          <p:spPr>
            <a:xfrm flipH="1">
              <a:off x="1410065" y="4379059"/>
              <a:ext cx="464333" cy="466856"/>
            </a:xfrm>
            <a:custGeom>
              <a:avLst/>
              <a:gdLst/>
              <a:ahLst/>
              <a:cxnLst/>
              <a:rect l="l" t="t" r="r" b="b"/>
              <a:pathLst>
                <a:path w="155" h="156" extrusionOk="0">
                  <a:moveTo>
                    <a:pt x="78" y="0"/>
                  </a:moveTo>
                  <a:cubicBezTo>
                    <a:pt x="35" y="0"/>
                    <a:pt x="0" y="35"/>
                    <a:pt x="0" y="78"/>
                  </a:cubicBezTo>
                  <a:cubicBezTo>
                    <a:pt x="0" y="121"/>
                    <a:pt x="35" y="156"/>
                    <a:pt x="78" y="156"/>
                  </a:cubicBezTo>
                  <a:cubicBezTo>
                    <a:pt x="120" y="156"/>
                    <a:pt x="155" y="121"/>
                    <a:pt x="155" y="78"/>
                  </a:cubicBezTo>
                  <a:cubicBezTo>
                    <a:pt x="155" y="35"/>
                    <a:pt x="120" y="0"/>
                    <a:pt x="78" y="0"/>
                  </a:cubicBezTo>
                  <a:close/>
                  <a:moveTo>
                    <a:pt x="78" y="122"/>
                  </a:moveTo>
                  <a:cubicBezTo>
                    <a:pt x="53" y="122"/>
                    <a:pt x="33" y="103"/>
                    <a:pt x="33" y="78"/>
                  </a:cubicBezTo>
                  <a:cubicBezTo>
                    <a:pt x="33" y="54"/>
                    <a:pt x="53" y="34"/>
                    <a:pt x="78" y="34"/>
                  </a:cubicBezTo>
                  <a:cubicBezTo>
                    <a:pt x="102" y="34"/>
                    <a:pt x="122" y="54"/>
                    <a:pt x="122" y="78"/>
                  </a:cubicBezTo>
                  <a:cubicBezTo>
                    <a:pt x="122" y="103"/>
                    <a:pt x="102" y="122"/>
                    <a:pt x="78" y="122"/>
                  </a:cubicBezTo>
                  <a:close/>
                </a:path>
              </a:pathLst>
            </a:custGeom>
            <a:solidFill>
              <a:srgbClr val="7EA8FB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chemeClr val="dk1"/>
                </a:solidFill>
                <a:latin typeface="Proxima Nova" panose="02000506030000020004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Google Shape;153;p17"/>
            <p:cNvSpPr/>
            <p:nvPr/>
          </p:nvSpPr>
          <p:spPr>
            <a:xfrm flipH="1">
              <a:off x="1553907" y="3030223"/>
              <a:ext cx="623316" cy="1674374"/>
            </a:xfrm>
            <a:custGeom>
              <a:avLst/>
              <a:gdLst/>
              <a:ahLst/>
              <a:cxnLst/>
              <a:rect l="l" t="t" r="r" b="b"/>
              <a:pathLst>
                <a:path w="208" h="559" extrusionOk="0">
                  <a:moveTo>
                    <a:pt x="204" y="523"/>
                  </a:moveTo>
                  <a:cubicBezTo>
                    <a:pt x="208" y="536"/>
                    <a:pt x="200" y="551"/>
                    <a:pt x="187" y="555"/>
                  </a:cubicBezTo>
                  <a:cubicBezTo>
                    <a:pt x="186" y="555"/>
                    <a:pt x="186" y="555"/>
                    <a:pt x="186" y="555"/>
                  </a:cubicBezTo>
                  <a:cubicBezTo>
                    <a:pt x="172" y="559"/>
                    <a:pt x="158" y="551"/>
                    <a:pt x="154" y="538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0" y="23"/>
                    <a:pt x="8" y="8"/>
                    <a:pt x="21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36" y="0"/>
                    <a:pt x="50" y="8"/>
                    <a:pt x="54" y="21"/>
                  </a:cubicBezTo>
                  <a:lnTo>
                    <a:pt x="204" y="52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chemeClr val="dk1"/>
                </a:solidFill>
                <a:latin typeface="Proxima Nova" panose="02000506030000020004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Google Shape;154;p17"/>
            <p:cNvSpPr/>
            <p:nvPr/>
          </p:nvSpPr>
          <p:spPr>
            <a:xfrm flipH="1">
              <a:off x="2009407" y="3797381"/>
              <a:ext cx="485783" cy="141319"/>
            </a:xfrm>
            <a:custGeom>
              <a:avLst/>
              <a:gdLst/>
              <a:ahLst/>
              <a:cxnLst/>
              <a:rect l="l" t="t" r="r" b="b"/>
              <a:pathLst>
                <a:path w="162" h="47" extrusionOk="0">
                  <a:moveTo>
                    <a:pt x="162" y="24"/>
                  </a:moveTo>
                  <a:cubicBezTo>
                    <a:pt x="162" y="37"/>
                    <a:pt x="151" y="47"/>
                    <a:pt x="138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10" y="47"/>
                    <a:pt x="0" y="37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51" y="0"/>
                    <a:pt x="162" y="10"/>
                    <a:pt x="162" y="2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chemeClr val="dk1"/>
                </a:solidFill>
                <a:latin typeface="Proxima Nova" panose="02000506030000020004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155;p17"/>
            <p:cNvSpPr/>
            <p:nvPr/>
          </p:nvSpPr>
          <p:spPr>
            <a:xfrm flipH="1">
              <a:off x="2044975" y="3965198"/>
              <a:ext cx="640981" cy="143842"/>
            </a:xfrm>
            <a:custGeom>
              <a:avLst/>
              <a:gdLst/>
              <a:ahLst/>
              <a:cxnLst/>
              <a:rect l="l" t="t" r="r" b="b"/>
              <a:pathLst>
                <a:path w="214" h="48" extrusionOk="0">
                  <a:moveTo>
                    <a:pt x="214" y="24"/>
                  </a:moveTo>
                  <a:cubicBezTo>
                    <a:pt x="214" y="37"/>
                    <a:pt x="203" y="48"/>
                    <a:pt x="190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03" y="0"/>
                    <a:pt x="214" y="11"/>
                    <a:pt x="214" y="24"/>
                  </a:cubicBezTo>
                  <a:close/>
                </a:path>
              </a:pathLst>
            </a:custGeom>
            <a:solidFill>
              <a:srgbClr val="9CC8FE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chemeClr val="dk1"/>
                </a:solidFill>
                <a:latin typeface="Proxima Nova" panose="02000506030000020004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156;p17"/>
            <p:cNvSpPr/>
            <p:nvPr/>
          </p:nvSpPr>
          <p:spPr>
            <a:xfrm flipH="1">
              <a:off x="2066363" y="4133013"/>
              <a:ext cx="752017" cy="143842"/>
            </a:xfrm>
            <a:custGeom>
              <a:avLst/>
              <a:gdLst/>
              <a:ahLst/>
              <a:cxnLst/>
              <a:rect l="l" t="t" r="r" b="b"/>
              <a:pathLst>
                <a:path w="251" h="48" extrusionOk="0">
                  <a:moveTo>
                    <a:pt x="251" y="24"/>
                  </a:moveTo>
                  <a:cubicBezTo>
                    <a:pt x="251" y="37"/>
                    <a:pt x="240" y="48"/>
                    <a:pt x="227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227" y="0"/>
                    <a:pt x="227" y="0"/>
                    <a:pt x="227" y="0"/>
                  </a:cubicBezTo>
                  <a:cubicBezTo>
                    <a:pt x="240" y="0"/>
                    <a:pt x="251" y="11"/>
                    <a:pt x="251" y="2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chemeClr val="dk1"/>
                </a:solidFill>
                <a:latin typeface="Proxima Nova" panose="02000506030000020004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Google Shape;157;p17"/>
            <p:cNvSpPr/>
            <p:nvPr/>
          </p:nvSpPr>
          <p:spPr>
            <a:xfrm flipH="1">
              <a:off x="2060054" y="4300829"/>
              <a:ext cx="866839" cy="143842"/>
            </a:xfrm>
            <a:custGeom>
              <a:avLst/>
              <a:gdLst/>
              <a:ahLst/>
              <a:cxnLst/>
              <a:rect l="l" t="t" r="r" b="b"/>
              <a:pathLst>
                <a:path w="289" h="48" extrusionOk="0">
                  <a:moveTo>
                    <a:pt x="289" y="24"/>
                  </a:moveTo>
                  <a:cubicBezTo>
                    <a:pt x="289" y="37"/>
                    <a:pt x="279" y="48"/>
                    <a:pt x="265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10" y="48"/>
                    <a:pt x="0" y="37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265" y="0"/>
                    <a:pt x="265" y="0"/>
                    <a:pt x="265" y="0"/>
                  </a:cubicBezTo>
                  <a:cubicBezTo>
                    <a:pt x="279" y="0"/>
                    <a:pt x="289" y="11"/>
                    <a:pt x="289" y="24"/>
                  </a:cubicBezTo>
                  <a:close/>
                </a:path>
              </a:pathLst>
            </a:custGeom>
            <a:solidFill>
              <a:srgbClr val="9CC8FE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chemeClr val="dk1"/>
                </a:solidFill>
                <a:latin typeface="Proxima Nova" panose="02000506030000020004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Google Shape;158;p17"/>
            <p:cNvSpPr/>
            <p:nvPr/>
          </p:nvSpPr>
          <p:spPr>
            <a:xfrm flipH="1">
              <a:off x="2009107" y="4468645"/>
              <a:ext cx="812582" cy="143842"/>
            </a:xfrm>
            <a:custGeom>
              <a:avLst/>
              <a:gdLst/>
              <a:ahLst/>
              <a:cxnLst/>
              <a:rect l="l" t="t" r="r" b="b"/>
              <a:pathLst>
                <a:path w="271" h="48" extrusionOk="0">
                  <a:moveTo>
                    <a:pt x="271" y="24"/>
                  </a:moveTo>
                  <a:cubicBezTo>
                    <a:pt x="271" y="38"/>
                    <a:pt x="260" y="48"/>
                    <a:pt x="247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8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60" y="0"/>
                    <a:pt x="271" y="11"/>
                    <a:pt x="271" y="2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chemeClr val="dk1"/>
                </a:solidFill>
                <a:latin typeface="Proxima Nova" panose="02000506030000020004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Google Shape;159;p17"/>
            <p:cNvSpPr/>
            <p:nvPr/>
          </p:nvSpPr>
          <p:spPr>
            <a:xfrm flipH="1">
              <a:off x="1953352" y="4638985"/>
              <a:ext cx="734352" cy="141319"/>
            </a:xfrm>
            <a:custGeom>
              <a:avLst/>
              <a:gdLst/>
              <a:ahLst/>
              <a:cxnLst/>
              <a:rect l="l" t="t" r="r" b="b"/>
              <a:pathLst>
                <a:path w="245" h="47" extrusionOk="0">
                  <a:moveTo>
                    <a:pt x="245" y="24"/>
                  </a:moveTo>
                  <a:cubicBezTo>
                    <a:pt x="245" y="37"/>
                    <a:pt x="235" y="47"/>
                    <a:pt x="221" y="47"/>
                  </a:cubicBezTo>
                  <a:cubicBezTo>
                    <a:pt x="24" y="47"/>
                    <a:pt x="24" y="47"/>
                    <a:pt x="24" y="47"/>
                  </a:cubicBezTo>
                  <a:cubicBezTo>
                    <a:pt x="11" y="47"/>
                    <a:pt x="0" y="37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221" y="0"/>
                    <a:pt x="221" y="0"/>
                    <a:pt x="221" y="0"/>
                  </a:cubicBezTo>
                  <a:cubicBezTo>
                    <a:pt x="235" y="0"/>
                    <a:pt x="245" y="10"/>
                    <a:pt x="245" y="24"/>
                  </a:cubicBezTo>
                  <a:close/>
                </a:path>
              </a:pathLst>
            </a:custGeom>
            <a:solidFill>
              <a:srgbClr val="9CC8FE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chemeClr val="dk1"/>
                </a:solidFill>
                <a:latin typeface="Proxima Nova" panose="02000506030000020004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" name="Google Shape;160;p17"/>
            <p:cNvSpPr/>
            <p:nvPr/>
          </p:nvSpPr>
          <p:spPr>
            <a:xfrm flipH="1">
              <a:off x="333772" y="4968307"/>
              <a:ext cx="3961969" cy="1905279"/>
            </a:xfrm>
            <a:custGeom>
              <a:avLst/>
              <a:gdLst/>
              <a:ahLst/>
              <a:cxnLst/>
              <a:rect l="l" t="t" r="r" b="b"/>
              <a:pathLst>
                <a:path w="1322" h="636" extrusionOk="0">
                  <a:moveTo>
                    <a:pt x="572" y="32"/>
                  </a:moveTo>
                  <a:cubicBezTo>
                    <a:pt x="572" y="32"/>
                    <a:pt x="401" y="0"/>
                    <a:pt x="227" y="170"/>
                  </a:cubicBezTo>
                  <a:cubicBezTo>
                    <a:pt x="54" y="340"/>
                    <a:pt x="16" y="588"/>
                    <a:pt x="16" y="588"/>
                  </a:cubicBezTo>
                  <a:cubicBezTo>
                    <a:pt x="16" y="588"/>
                    <a:pt x="0" y="630"/>
                    <a:pt x="75" y="633"/>
                  </a:cubicBezTo>
                  <a:cubicBezTo>
                    <a:pt x="149" y="636"/>
                    <a:pt x="546" y="633"/>
                    <a:pt x="546" y="633"/>
                  </a:cubicBezTo>
                  <a:cubicBezTo>
                    <a:pt x="546" y="633"/>
                    <a:pt x="625" y="628"/>
                    <a:pt x="625" y="557"/>
                  </a:cubicBezTo>
                  <a:cubicBezTo>
                    <a:pt x="625" y="485"/>
                    <a:pt x="665" y="148"/>
                    <a:pt x="938" y="148"/>
                  </a:cubicBezTo>
                  <a:cubicBezTo>
                    <a:pt x="938" y="148"/>
                    <a:pt x="1107" y="129"/>
                    <a:pt x="1110" y="364"/>
                  </a:cubicBezTo>
                  <a:cubicBezTo>
                    <a:pt x="1110" y="598"/>
                    <a:pt x="1110" y="598"/>
                    <a:pt x="1110" y="598"/>
                  </a:cubicBezTo>
                  <a:cubicBezTo>
                    <a:pt x="1110" y="598"/>
                    <a:pt x="1118" y="633"/>
                    <a:pt x="1158" y="633"/>
                  </a:cubicBezTo>
                  <a:cubicBezTo>
                    <a:pt x="1280" y="633"/>
                    <a:pt x="1280" y="633"/>
                    <a:pt x="1280" y="633"/>
                  </a:cubicBezTo>
                  <a:cubicBezTo>
                    <a:pt x="1280" y="633"/>
                    <a:pt x="1314" y="630"/>
                    <a:pt x="1314" y="585"/>
                  </a:cubicBezTo>
                  <a:cubicBezTo>
                    <a:pt x="1314" y="541"/>
                    <a:pt x="1322" y="83"/>
                    <a:pt x="1054" y="32"/>
                  </a:cubicBezTo>
                  <a:lnTo>
                    <a:pt x="572" y="32"/>
                  </a:lnTo>
                  <a:close/>
                </a:path>
              </a:pathLst>
            </a:custGeom>
            <a:solidFill>
              <a:srgbClr val="DDEC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chemeClr val="dk1"/>
                </a:solidFill>
                <a:latin typeface="Proxima Nova" panose="02000506030000020004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161;p17"/>
            <p:cNvSpPr/>
            <p:nvPr/>
          </p:nvSpPr>
          <p:spPr>
            <a:xfrm flipH="1">
              <a:off x="983586" y="6221249"/>
              <a:ext cx="1145690" cy="646028"/>
            </a:xfrm>
            <a:custGeom>
              <a:avLst/>
              <a:gdLst/>
              <a:ahLst/>
              <a:cxnLst/>
              <a:rect l="l" t="t" r="r" b="b"/>
              <a:pathLst>
                <a:path w="382" h="216" extrusionOk="0">
                  <a:moveTo>
                    <a:pt x="382" y="0"/>
                  </a:moveTo>
                  <a:cubicBezTo>
                    <a:pt x="363" y="0"/>
                    <a:pt x="363" y="0"/>
                    <a:pt x="363" y="0"/>
                  </a:cubicBezTo>
                  <a:cubicBezTo>
                    <a:pt x="331" y="71"/>
                    <a:pt x="261" y="120"/>
                    <a:pt x="178" y="120"/>
                  </a:cubicBezTo>
                  <a:cubicBezTo>
                    <a:pt x="101" y="120"/>
                    <a:pt x="34" y="76"/>
                    <a:pt x="0" y="13"/>
                  </a:cubicBezTo>
                  <a:cubicBezTo>
                    <a:pt x="0" y="216"/>
                    <a:pt x="0" y="216"/>
                    <a:pt x="0" y="216"/>
                  </a:cubicBezTo>
                  <a:cubicBezTo>
                    <a:pt x="382" y="216"/>
                    <a:pt x="382" y="216"/>
                    <a:pt x="382" y="216"/>
                  </a:cubicBezTo>
                  <a:lnTo>
                    <a:pt x="382" y="0"/>
                  </a:lnTo>
                  <a:close/>
                </a:path>
              </a:pathLst>
            </a:custGeom>
            <a:solidFill>
              <a:srgbClr val="3E7CF9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chemeClr val="dk1"/>
                </a:solidFill>
                <a:latin typeface="Proxima Nova" panose="02000506030000020004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Google Shape;162;p17"/>
            <p:cNvSpPr/>
            <p:nvPr/>
          </p:nvSpPr>
          <p:spPr>
            <a:xfrm flipH="1">
              <a:off x="944470" y="4964953"/>
              <a:ext cx="2227030" cy="201022"/>
            </a:xfrm>
            <a:custGeom>
              <a:avLst/>
              <a:gdLst/>
              <a:ahLst/>
              <a:cxnLst/>
              <a:rect l="l" t="t" r="r" b="b"/>
              <a:pathLst>
                <a:path w="653" h="59" extrusionOk="0">
                  <a:moveTo>
                    <a:pt x="653" y="34"/>
                  </a:moveTo>
                  <a:cubicBezTo>
                    <a:pt x="653" y="48"/>
                    <a:pt x="642" y="59"/>
                    <a:pt x="628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12" y="59"/>
                    <a:pt x="0" y="48"/>
                    <a:pt x="0" y="34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2" y="0"/>
                    <a:pt x="26" y="0"/>
                  </a:cubicBezTo>
                  <a:cubicBezTo>
                    <a:pt x="628" y="0"/>
                    <a:pt x="628" y="0"/>
                    <a:pt x="628" y="0"/>
                  </a:cubicBezTo>
                  <a:cubicBezTo>
                    <a:pt x="642" y="0"/>
                    <a:pt x="653" y="11"/>
                    <a:pt x="653" y="25"/>
                  </a:cubicBezTo>
                  <a:lnTo>
                    <a:pt x="653" y="34"/>
                  </a:lnTo>
                  <a:close/>
                </a:path>
              </a:pathLst>
            </a:custGeom>
            <a:solidFill>
              <a:srgbClr val="024DAB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chemeClr val="dk1"/>
                </a:solidFill>
                <a:latin typeface="Proxima Nova" panose="02000506030000020004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" name="Google Shape;163;p17"/>
            <p:cNvSpPr/>
            <p:nvPr/>
          </p:nvSpPr>
          <p:spPr>
            <a:xfrm flipH="1">
              <a:off x="2484053" y="5384693"/>
              <a:ext cx="1612547" cy="1480061"/>
            </a:xfrm>
            <a:custGeom>
              <a:avLst/>
              <a:gdLst/>
              <a:ahLst/>
              <a:cxnLst/>
              <a:rect l="l" t="t" r="r" b="b"/>
              <a:pathLst>
                <a:path w="538" h="494" extrusionOk="0">
                  <a:moveTo>
                    <a:pt x="235" y="57"/>
                  </a:moveTo>
                  <a:cubicBezTo>
                    <a:pt x="84" y="114"/>
                    <a:pt x="3" y="473"/>
                    <a:pt x="3" y="473"/>
                  </a:cubicBezTo>
                  <a:cubicBezTo>
                    <a:pt x="1" y="481"/>
                    <a:pt x="0" y="488"/>
                    <a:pt x="0" y="494"/>
                  </a:cubicBezTo>
                  <a:cubicBezTo>
                    <a:pt x="432" y="494"/>
                    <a:pt x="432" y="494"/>
                    <a:pt x="432" y="494"/>
                  </a:cubicBezTo>
                  <a:cubicBezTo>
                    <a:pt x="437" y="326"/>
                    <a:pt x="511" y="165"/>
                    <a:pt x="524" y="116"/>
                  </a:cubicBezTo>
                  <a:cubicBezTo>
                    <a:pt x="538" y="63"/>
                    <a:pt x="386" y="0"/>
                    <a:pt x="235" y="57"/>
                  </a:cubicBezTo>
                  <a:close/>
                </a:path>
              </a:pathLst>
            </a:custGeom>
            <a:solidFill>
              <a:srgbClr val="9CC8FE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chemeClr val="dk1"/>
                </a:solidFill>
                <a:latin typeface="Proxima Nova" panose="02000506030000020004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Google Shape;164;p17"/>
            <p:cNvSpPr/>
            <p:nvPr/>
          </p:nvSpPr>
          <p:spPr>
            <a:xfrm flipH="1">
              <a:off x="1325526" y="808239"/>
              <a:ext cx="3231403" cy="3013117"/>
            </a:xfrm>
            <a:custGeom>
              <a:avLst/>
              <a:gdLst/>
              <a:ahLst/>
              <a:cxnLst/>
              <a:rect l="l" t="t" r="r" b="b"/>
              <a:pathLst>
                <a:path w="1078" h="1006" extrusionOk="0">
                  <a:moveTo>
                    <a:pt x="635" y="58"/>
                  </a:moveTo>
                  <a:cubicBezTo>
                    <a:pt x="191" y="0"/>
                    <a:pt x="22" y="446"/>
                    <a:pt x="143" y="658"/>
                  </a:cubicBezTo>
                  <a:cubicBezTo>
                    <a:pt x="143" y="658"/>
                    <a:pt x="154" y="692"/>
                    <a:pt x="130" y="715"/>
                  </a:cubicBezTo>
                  <a:cubicBezTo>
                    <a:pt x="107" y="737"/>
                    <a:pt x="0" y="865"/>
                    <a:pt x="23" y="887"/>
                  </a:cubicBezTo>
                  <a:cubicBezTo>
                    <a:pt x="45" y="909"/>
                    <a:pt x="111" y="917"/>
                    <a:pt x="122" y="924"/>
                  </a:cubicBezTo>
                  <a:cubicBezTo>
                    <a:pt x="134" y="931"/>
                    <a:pt x="111" y="964"/>
                    <a:pt x="111" y="964"/>
                  </a:cubicBezTo>
                  <a:cubicBezTo>
                    <a:pt x="141" y="998"/>
                    <a:pt x="141" y="998"/>
                    <a:pt x="141" y="998"/>
                  </a:cubicBezTo>
                  <a:cubicBezTo>
                    <a:pt x="141" y="998"/>
                    <a:pt x="236" y="989"/>
                    <a:pt x="270" y="998"/>
                  </a:cubicBezTo>
                  <a:cubicBezTo>
                    <a:pt x="304" y="1006"/>
                    <a:pt x="548" y="998"/>
                    <a:pt x="611" y="820"/>
                  </a:cubicBezTo>
                  <a:cubicBezTo>
                    <a:pt x="635" y="671"/>
                    <a:pt x="727" y="555"/>
                    <a:pt x="1069" y="545"/>
                  </a:cubicBezTo>
                  <a:cubicBezTo>
                    <a:pt x="1069" y="545"/>
                    <a:pt x="1078" y="115"/>
                    <a:pt x="635" y="58"/>
                  </a:cubicBezTo>
                  <a:close/>
                </a:path>
              </a:pathLst>
            </a:custGeom>
            <a:solidFill>
              <a:srgbClr val="DDEC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chemeClr val="dk1"/>
                </a:solidFill>
                <a:latin typeface="Proxima Nova" panose="02000506030000020004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Google Shape;165;p17"/>
            <p:cNvSpPr/>
            <p:nvPr/>
          </p:nvSpPr>
          <p:spPr>
            <a:xfrm flipH="1">
              <a:off x="2734927" y="3261127"/>
              <a:ext cx="1401831" cy="1126764"/>
            </a:xfrm>
            <a:custGeom>
              <a:avLst/>
              <a:gdLst/>
              <a:ahLst/>
              <a:cxnLst/>
              <a:rect l="l" t="t" r="r" b="b"/>
              <a:pathLst>
                <a:path w="468" h="376" extrusionOk="0">
                  <a:moveTo>
                    <a:pt x="133" y="189"/>
                  </a:moveTo>
                  <a:cubicBezTo>
                    <a:pt x="99" y="182"/>
                    <a:pt x="5" y="194"/>
                    <a:pt x="5" y="194"/>
                  </a:cubicBezTo>
                  <a:cubicBezTo>
                    <a:pt x="5" y="194"/>
                    <a:pt x="0" y="222"/>
                    <a:pt x="9" y="231"/>
                  </a:cubicBezTo>
                  <a:cubicBezTo>
                    <a:pt x="18" y="240"/>
                    <a:pt x="46" y="268"/>
                    <a:pt x="47" y="289"/>
                  </a:cubicBezTo>
                  <a:cubicBezTo>
                    <a:pt x="48" y="310"/>
                    <a:pt x="12" y="376"/>
                    <a:pt x="148" y="370"/>
                  </a:cubicBezTo>
                  <a:cubicBezTo>
                    <a:pt x="285" y="365"/>
                    <a:pt x="466" y="290"/>
                    <a:pt x="464" y="97"/>
                  </a:cubicBezTo>
                  <a:cubicBezTo>
                    <a:pt x="464" y="64"/>
                    <a:pt x="464" y="31"/>
                    <a:pt x="468" y="0"/>
                  </a:cubicBezTo>
                  <a:cubicBezTo>
                    <a:pt x="411" y="180"/>
                    <a:pt x="167" y="196"/>
                    <a:pt x="133" y="189"/>
                  </a:cubicBezTo>
                  <a:close/>
                </a:path>
              </a:pathLst>
            </a:custGeom>
            <a:solidFill>
              <a:srgbClr val="DDEC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chemeClr val="dk1"/>
                </a:solidFill>
                <a:latin typeface="Proxima Nova" panose="02000506030000020004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Google Shape;166;p17"/>
            <p:cNvSpPr/>
            <p:nvPr/>
          </p:nvSpPr>
          <p:spPr>
            <a:xfrm flipH="1">
              <a:off x="2940596" y="3357022"/>
              <a:ext cx="230905" cy="230905"/>
            </a:xfrm>
            <a:custGeom>
              <a:avLst/>
              <a:gdLst/>
              <a:ahLst/>
              <a:cxnLst/>
              <a:rect l="l" t="t" r="r" b="b"/>
              <a:pathLst>
                <a:path w="77" h="77" extrusionOk="0">
                  <a:moveTo>
                    <a:pt x="76" y="41"/>
                  </a:moveTo>
                  <a:cubicBezTo>
                    <a:pt x="75" y="61"/>
                    <a:pt x="57" y="77"/>
                    <a:pt x="37" y="76"/>
                  </a:cubicBezTo>
                  <a:cubicBezTo>
                    <a:pt x="16" y="75"/>
                    <a:pt x="0" y="58"/>
                    <a:pt x="1" y="37"/>
                  </a:cubicBezTo>
                  <a:cubicBezTo>
                    <a:pt x="2" y="16"/>
                    <a:pt x="19" y="0"/>
                    <a:pt x="40" y="1"/>
                  </a:cubicBezTo>
                  <a:cubicBezTo>
                    <a:pt x="61" y="2"/>
                    <a:pt x="77" y="20"/>
                    <a:pt x="76" y="41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chemeClr val="dk1"/>
                </a:solidFill>
                <a:latin typeface="Proxima Nova" panose="02000506030000020004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Google Shape;167;p17"/>
            <p:cNvSpPr/>
            <p:nvPr/>
          </p:nvSpPr>
          <p:spPr>
            <a:xfrm flipH="1">
              <a:off x="2964569" y="3686345"/>
              <a:ext cx="215764" cy="215764"/>
            </a:xfrm>
            <a:custGeom>
              <a:avLst/>
              <a:gdLst/>
              <a:ahLst/>
              <a:cxnLst/>
              <a:rect l="l" t="t" r="r" b="b"/>
              <a:pathLst>
                <a:path w="72" h="72" extrusionOk="0">
                  <a:moveTo>
                    <a:pt x="71" y="38"/>
                  </a:moveTo>
                  <a:cubicBezTo>
                    <a:pt x="70" y="57"/>
                    <a:pt x="54" y="72"/>
                    <a:pt x="35" y="71"/>
                  </a:cubicBezTo>
                  <a:cubicBezTo>
                    <a:pt x="15" y="70"/>
                    <a:pt x="0" y="54"/>
                    <a:pt x="1" y="34"/>
                  </a:cubicBezTo>
                  <a:cubicBezTo>
                    <a:pt x="2" y="15"/>
                    <a:pt x="19" y="0"/>
                    <a:pt x="38" y="1"/>
                  </a:cubicBezTo>
                  <a:cubicBezTo>
                    <a:pt x="57" y="2"/>
                    <a:pt x="72" y="19"/>
                    <a:pt x="71" y="38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chemeClr val="dk1"/>
                </a:solidFill>
                <a:latin typeface="Proxima Nova" panose="02000506030000020004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Google Shape;168;p17"/>
            <p:cNvSpPr/>
            <p:nvPr/>
          </p:nvSpPr>
          <p:spPr>
            <a:xfrm flipH="1">
              <a:off x="3025135" y="3461749"/>
              <a:ext cx="80754" cy="359606"/>
            </a:xfrm>
            <a:custGeom>
              <a:avLst/>
              <a:gdLst/>
              <a:ahLst/>
              <a:cxnLst/>
              <a:rect l="l" t="t" r="r" b="b"/>
              <a:pathLst>
                <a:path w="27" h="120" extrusionOk="0">
                  <a:moveTo>
                    <a:pt x="22" y="110"/>
                  </a:moveTo>
                  <a:cubicBezTo>
                    <a:pt x="22" y="115"/>
                    <a:pt x="17" y="120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5" y="119"/>
                    <a:pt x="0" y="114"/>
                    <a:pt x="1" y="109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6" y="4"/>
                    <a:pt x="11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2" y="0"/>
                    <a:pt x="27" y="5"/>
                    <a:pt x="27" y="11"/>
                  </a:cubicBezTo>
                  <a:lnTo>
                    <a:pt x="22" y="110"/>
                  </a:lnTo>
                  <a:close/>
                </a:path>
              </a:pathLst>
            </a:custGeom>
            <a:solidFill>
              <a:srgbClr val="ADADA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chemeClr val="dk1"/>
                </a:solidFill>
                <a:latin typeface="Proxima Nova" panose="02000506030000020004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169;p17"/>
            <p:cNvSpPr/>
            <p:nvPr/>
          </p:nvSpPr>
          <p:spPr>
            <a:xfrm flipH="1">
              <a:off x="1889538" y="1146394"/>
              <a:ext cx="2115995" cy="1428328"/>
            </a:xfrm>
            <a:custGeom>
              <a:avLst/>
              <a:gdLst/>
              <a:ahLst/>
              <a:cxnLst/>
              <a:rect l="l" t="t" r="r" b="b"/>
              <a:pathLst>
                <a:path w="706" h="477" extrusionOk="0">
                  <a:moveTo>
                    <a:pt x="470" y="372"/>
                  </a:moveTo>
                  <a:cubicBezTo>
                    <a:pt x="483" y="370"/>
                    <a:pt x="496" y="368"/>
                    <a:pt x="509" y="366"/>
                  </a:cubicBezTo>
                  <a:cubicBezTo>
                    <a:pt x="546" y="360"/>
                    <a:pt x="583" y="349"/>
                    <a:pt x="615" y="330"/>
                  </a:cubicBezTo>
                  <a:cubicBezTo>
                    <a:pt x="633" y="319"/>
                    <a:pt x="650" y="305"/>
                    <a:pt x="661" y="287"/>
                  </a:cubicBezTo>
                  <a:cubicBezTo>
                    <a:pt x="706" y="213"/>
                    <a:pt x="627" y="92"/>
                    <a:pt x="527" y="61"/>
                  </a:cubicBezTo>
                  <a:cubicBezTo>
                    <a:pt x="428" y="30"/>
                    <a:pt x="229" y="0"/>
                    <a:pt x="115" y="127"/>
                  </a:cubicBezTo>
                  <a:cubicBezTo>
                    <a:pt x="0" y="254"/>
                    <a:pt x="71" y="440"/>
                    <a:pt x="204" y="464"/>
                  </a:cubicBezTo>
                  <a:cubicBezTo>
                    <a:pt x="241" y="471"/>
                    <a:pt x="291" y="477"/>
                    <a:pt x="321" y="447"/>
                  </a:cubicBezTo>
                  <a:cubicBezTo>
                    <a:pt x="335" y="433"/>
                    <a:pt x="343" y="415"/>
                    <a:pt x="360" y="403"/>
                  </a:cubicBezTo>
                  <a:cubicBezTo>
                    <a:pt x="392" y="380"/>
                    <a:pt x="433" y="376"/>
                    <a:pt x="470" y="372"/>
                  </a:cubicBezTo>
                  <a:close/>
                </a:path>
              </a:pathLst>
            </a:custGeom>
            <a:solidFill>
              <a:srgbClr val="BDDAFE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chemeClr val="dk1"/>
                </a:solidFill>
                <a:latin typeface="Proxima Nova" panose="02000506030000020004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" name="Google Shape;170;p17"/>
            <p:cNvSpPr/>
            <p:nvPr/>
          </p:nvSpPr>
          <p:spPr>
            <a:xfrm flipH="1">
              <a:off x="3541200" y="2776606"/>
              <a:ext cx="445406" cy="190528"/>
            </a:xfrm>
            <a:custGeom>
              <a:avLst/>
              <a:gdLst/>
              <a:ahLst/>
              <a:cxnLst/>
              <a:rect l="l" t="t" r="r" b="b"/>
              <a:pathLst>
                <a:path w="149" h="64" extrusionOk="0">
                  <a:moveTo>
                    <a:pt x="15" y="0"/>
                  </a:moveTo>
                  <a:cubicBezTo>
                    <a:pt x="15" y="0"/>
                    <a:pt x="0" y="37"/>
                    <a:pt x="31" y="64"/>
                  </a:cubicBezTo>
                  <a:cubicBezTo>
                    <a:pt x="149" y="0"/>
                    <a:pt x="149" y="0"/>
                    <a:pt x="149" y="0"/>
                  </a:cubicBezTo>
                  <a:lnTo>
                    <a:pt x="15" y="0"/>
                  </a:lnTo>
                  <a:close/>
                </a:path>
              </a:pathLst>
            </a:custGeom>
            <a:solidFill>
              <a:srgbClr val="3E7CF9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chemeClr val="dk1"/>
                </a:solidFill>
                <a:latin typeface="Proxima Nova" panose="02000506030000020004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171;p17"/>
            <p:cNvSpPr/>
            <p:nvPr/>
          </p:nvSpPr>
          <p:spPr>
            <a:xfrm flipH="1">
              <a:off x="917973" y="5297631"/>
              <a:ext cx="1351360" cy="1351360"/>
            </a:xfrm>
            <a:custGeom>
              <a:avLst/>
              <a:gdLst/>
              <a:ahLst/>
              <a:cxnLst/>
              <a:rect l="l" t="t" r="r" b="b"/>
              <a:pathLst>
                <a:path w="451" h="451" extrusionOk="0">
                  <a:moveTo>
                    <a:pt x="225" y="0"/>
                  </a:moveTo>
                  <a:cubicBezTo>
                    <a:pt x="101" y="0"/>
                    <a:pt x="0" y="101"/>
                    <a:pt x="0" y="226"/>
                  </a:cubicBezTo>
                  <a:cubicBezTo>
                    <a:pt x="0" y="350"/>
                    <a:pt x="101" y="451"/>
                    <a:pt x="225" y="451"/>
                  </a:cubicBezTo>
                  <a:cubicBezTo>
                    <a:pt x="350" y="451"/>
                    <a:pt x="451" y="350"/>
                    <a:pt x="451" y="226"/>
                  </a:cubicBezTo>
                  <a:cubicBezTo>
                    <a:pt x="451" y="101"/>
                    <a:pt x="350" y="0"/>
                    <a:pt x="225" y="0"/>
                  </a:cubicBezTo>
                  <a:close/>
                  <a:moveTo>
                    <a:pt x="225" y="369"/>
                  </a:moveTo>
                  <a:cubicBezTo>
                    <a:pt x="146" y="369"/>
                    <a:pt x="82" y="305"/>
                    <a:pt x="82" y="226"/>
                  </a:cubicBezTo>
                  <a:cubicBezTo>
                    <a:pt x="82" y="146"/>
                    <a:pt x="146" y="82"/>
                    <a:pt x="225" y="82"/>
                  </a:cubicBezTo>
                  <a:cubicBezTo>
                    <a:pt x="304" y="82"/>
                    <a:pt x="369" y="146"/>
                    <a:pt x="369" y="226"/>
                  </a:cubicBezTo>
                  <a:cubicBezTo>
                    <a:pt x="369" y="305"/>
                    <a:pt x="304" y="369"/>
                    <a:pt x="225" y="369"/>
                  </a:cubicBezTo>
                  <a:close/>
                </a:path>
              </a:pathLst>
            </a:custGeom>
            <a:solidFill>
              <a:srgbClr val="024DAB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chemeClr val="dk1"/>
                </a:solidFill>
                <a:latin typeface="Proxima Nova" panose="02000506030000020004" pitchFamily="2" charset="0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Google Shape;172;p17"/>
            <p:cNvSpPr/>
            <p:nvPr/>
          </p:nvSpPr>
          <p:spPr>
            <a:xfrm flipH="1">
              <a:off x="1211966" y="5591624"/>
              <a:ext cx="764635" cy="763374"/>
            </a:xfrm>
            <a:prstGeom prst="ellipse">
              <a:avLst/>
            </a:prstGeom>
            <a:solidFill>
              <a:srgbClr val="9CC8FE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endParaRPr sz="2400">
                <a:solidFill>
                  <a:schemeClr val="dk1"/>
                </a:solidFill>
                <a:latin typeface="Proxima Nova" panose="02000506030000020004" pitchFamily="2" charset="0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3" name="Google Shape;173;p17"/>
          <p:cNvSpPr txBox="1"/>
          <p:nvPr/>
        </p:nvSpPr>
        <p:spPr>
          <a:xfrm>
            <a:off x="2659214" y="1330033"/>
            <a:ext cx="8719799" cy="3866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buClr>
                <a:srgbClr val="000000"/>
              </a:buClr>
            </a:pPr>
            <a:r>
              <a:rPr lang="en-IN" sz="2500" b="1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Misi</a:t>
            </a:r>
            <a:endParaRPr sz="100" b="1" dirty="0">
              <a:solidFill>
                <a:srgbClr val="002060"/>
              </a:solidFill>
              <a:latin typeface="Proxima Nova" panose="02000506030000020004" pitchFamily="2" charset="0"/>
              <a:ea typeface="Proxima Nova"/>
              <a:cs typeface="Proxima Nova"/>
              <a:sym typeface="Proxima Nova"/>
            </a:endParaRPr>
          </a:p>
        </p:txBody>
      </p:sp>
      <p:sp>
        <p:nvSpPr>
          <p:cNvPr id="174" name="Google Shape;174;p17"/>
          <p:cNvSpPr/>
          <p:nvPr/>
        </p:nvSpPr>
        <p:spPr>
          <a:xfrm>
            <a:off x="3075709" y="1691974"/>
            <a:ext cx="8303404" cy="6067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algn="just"/>
            <a:r>
              <a:rPr lang="en-IN" sz="1600" b="1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Menumbuhkan</a:t>
            </a:r>
            <a:r>
              <a:rPr lang="en-IN" sz="1600" b="1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b="1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ekosistem</a:t>
            </a:r>
            <a:r>
              <a:rPr lang="en-IN" sz="1600" b="1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b="1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kolaboras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i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riset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dan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inovasi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Kecerdasan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Artifisial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guna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mengakselerasi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b="1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reformasi</a:t>
            </a:r>
            <a:r>
              <a:rPr lang="en-IN" sz="1600" b="1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b="1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birokrasi</a:t>
            </a:r>
            <a:r>
              <a:rPr lang="en-IN" sz="1600" b="1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dan </a:t>
            </a:r>
            <a:r>
              <a:rPr lang="en-IN" sz="1600" b="1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penguatan</a:t>
            </a:r>
            <a:r>
              <a:rPr lang="en-IN" sz="1600" b="1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b="1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industri</a:t>
            </a:r>
            <a:r>
              <a:rPr lang="en-IN" sz="1600" b="1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nasional</a:t>
            </a:r>
            <a:endParaRPr sz="1600" dirty="0">
              <a:solidFill>
                <a:srgbClr val="002060"/>
              </a:solidFill>
              <a:latin typeface="Proxima Nova" panose="02000506030000020004" pitchFamily="2" charset="0"/>
            </a:endParaRPr>
          </a:p>
        </p:txBody>
      </p:sp>
      <p:sp>
        <p:nvSpPr>
          <p:cNvPr id="175" name="Google Shape;175;p17"/>
          <p:cNvSpPr txBox="1"/>
          <p:nvPr/>
        </p:nvSpPr>
        <p:spPr>
          <a:xfrm>
            <a:off x="2659214" y="2433498"/>
            <a:ext cx="8719799" cy="3866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IN" sz="2500" b="1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Tujuan</a:t>
            </a:r>
            <a:endParaRPr sz="100" b="1" dirty="0">
              <a:solidFill>
                <a:srgbClr val="002060"/>
              </a:solidFill>
              <a:latin typeface="Proxima Nova" panose="02000506030000020004" pitchFamily="2" charset="0"/>
              <a:ea typeface="Proxima Nova"/>
              <a:cs typeface="Proxima Nova"/>
              <a:sym typeface="Proxima Nova"/>
            </a:endParaRPr>
          </a:p>
        </p:txBody>
      </p:sp>
      <p:sp>
        <p:nvSpPr>
          <p:cNvPr id="176" name="Google Shape;176;p17"/>
          <p:cNvSpPr/>
          <p:nvPr/>
        </p:nvSpPr>
        <p:spPr>
          <a:xfrm>
            <a:off x="2659314" y="2776337"/>
            <a:ext cx="8719799" cy="16907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419100" indent="-285750" algn="just">
              <a:buClr>
                <a:schemeClr val="lt1"/>
              </a:buClr>
              <a:buSzPts val="1500"/>
              <a:buFont typeface="Arial" panose="020B0604020202020204" pitchFamily="34" charset="0"/>
              <a:buChar char="•"/>
            </a:pPr>
            <a:r>
              <a:rPr lang="en-IN" sz="1600" b="1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Terciptanya</a:t>
            </a:r>
            <a:r>
              <a:rPr lang="en-IN" sz="1600" b="1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b="1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ekosistem</a:t>
            </a:r>
            <a:r>
              <a:rPr lang="en-IN" sz="1600" b="1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riset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dan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inovasi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industri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Kecerdasan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Artifisial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nasional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yang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berkelanjutan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melalui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b="1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kolaborasi</a:t>
            </a:r>
            <a:r>
              <a:rPr lang="en-IN" sz="1600" b="1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Quad-Helix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: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pemerintah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,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industri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,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akademisi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, dan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komunitas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masyarakat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.</a:t>
            </a:r>
          </a:p>
          <a:p>
            <a:pPr marL="133350" algn="just">
              <a:buClr>
                <a:schemeClr val="lt1"/>
              </a:buClr>
              <a:buSzPts val="1500"/>
            </a:pPr>
            <a:endParaRPr lang="en-IN" sz="1600" dirty="0">
              <a:solidFill>
                <a:srgbClr val="002060"/>
              </a:solidFill>
              <a:latin typeface="Proxima Nova" panose="02000506030000020004" pitchFamily="2" charset="0"/>
              <a:ea typeface="Open Sans"/>
              <a:cs typeface="Open Sans"/>
              <a:sym typeface="Open Sans"/>
            </a:endParaRPr>
          </a:p>
          <a:p>
            <a:pPr marL="419100" indent="-285750" algn="just">
              <a:buClr>
                <a:schemeClr val="lt1"/>
              </a:buClr>
              <a:buSzPts val="1500"/>
              <a:buFont typeface="Arial" panose="020B0604020202020204" pitchFamily="34" charset="0"/>
              <a:buChar char="•"/>
            </a:pPr>
            <a:r>
              <a:rPr lang="en-IN" sz="1600" b="1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Terwujudnya</a:t>
            </a:r>
            <a:r>
              <a:rPr lang="en-IN" sz="1600" b="1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b="1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produk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,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solusi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, dan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layanan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teknologi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b="1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Kecerdasan</a:t>
            </a:r>
            <a:r>
              <a:rPr lang="en-IN" sz="1600" b="1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b="1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Artifisial</a:t>
            </a:r>
            <a:r>
              <a:rPr lang="en-IN" sz="1600" b="1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tepat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guna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yang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menjadi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katalisator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dalam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upaya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b="1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mengakselerasi</a:t>
            </a:r>
            <a:r>
              <a:rPr lang="en-IN" sz="1600" b="1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b="1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reformasi</a:t>
            </a:r>
            <a:r>
              <a:rPr lang="en-IN" sz="1600" b="1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b="1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birokrasi</a:t>
            </a:r>
            <a:r>
              <a:rPr lang="en-IN" sz="1600" b="1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dan </a:t>
            </a:r>
            <a:r>
              <a:rPr lang="en-IN" sz="1600" b="1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penguatan</a:t>
            </a:r>
            <a:r>
              <a:rPr lang="en-IN" sz="1600" b="1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b="1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industri</a:t>
            </a:r>
            <a:r>
              <a:rPr lang="en-IN" sz="1600" b="1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b="1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nasional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.</a:t>
            </a:r>
            <a:endParaRPr sz="1600" dirty="0">
              <a:solidFill>
                <a:srgbClr val="002060"/>
              </a:solidFill>
              <a:latin typeface="Proxima Nova" panose="02000506030000020004" pitchFamily="2" charset="0"/>
              <a:ea typeface="Open Sans"/>
              <a:cs typeface="Open Sans"/>
              <a:sym typeface="Open Sans"/>
            </a:endParaRPr>
          </a:p>
        </p:txBody>
      </p:sp>
      <p:sp>
        <p:nvSpPr>
          <p:cNvPr id="177" name="Google Shape;177;p17"/>
          <p:cNvSpPr txBox="1"/>
          <p:nvPr/>
        </p:nvSpPr>
        <p:spPr>
          <a:xfrm>
            <a:off x="2659214" y="4436345"/>
            <a:ext cx="8719799" cy="3866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en-IN" sz="2500" b="1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Indikator</a:t>
            </a:r>
            <a:r>
              <a:rPr lang="en-IN" sz="2500" b="1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Utama</a:t>
            </a:r>
            <a:endParaRPr sz="2500" b="1" dirty="0">
              <a:solidFill>
                <a:srgbClr val="002060"/>
              </a:solidFill>
              <a:latin typeface="Proxima Nova" panose="02000506030000020004" pitchFamily="2" charset="0"/>
              <a:ea typeface="Open Sans"/>
              <a:cs typeface="Open Sans"/>
              <a:sym typeface="Open Sans"/>
            </a:endParaRPr>
          </a:p>
        </p:txBody>
      </p:sp>
      <p:sp>
        <p:nvSpPr>
          <p:cNvPr id="178" name="Google Shape;178;p17"/>
          <p:cNvSpPr/>
          <p:nvPr/>
        </p:nvSpPr>
        <p:spPr>
          <a:xfrm>
            <a:off x="2659314" y="4854466"/>
            <a:ext cx="8719799" cy="13630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419100" indent="-285750" algn="just">
              <a:buClr>
                <a:schemeClr val="lt1"/>
              </a:buClr>
              <a:buSzPts val="1500"/>
              <a:buFont typeface="Arial" panose="020B0604020202020204" pitchFamily="34" charset="0"/>
              <a:buChar char="•"/>
            </a:pPr>
            <a:r>
              <a:rPr lang="en-IN" sz="1600" b="1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Dampak</a:t>
            </a:r>
            <a:r>
              <a:rPr lang="en-IN" sz="1600" b="1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b="1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Kecerdasan</a:t>
            </a:r>
            <a:r>
              <a:rPr lang="en-IN" sz="1600" b="1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b="1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Artifisial</a:t>
            </a:r>
            <a:r>
              <a:rPr lang="en-IN" sz="1600" b="1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pada Product Domestic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Bruto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(PDB) Indonesia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sebesar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b="1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10,5% (2030) dan 22,5% (2045)</a:t>
            </a:r>
            <a:endParaRPr sz="1600" b="1" dirty="0">
              <a:solidFill>
                <a:srgbClr val="002060"/>
              </a:solidFill>
              <a:latin typeface="Proxima Nova" panose="02000506030000020004" pitchFamily="2" charset="0"/>
              <a:ea typeface="Open Sans"/>
              <a:cs typeface="Open Sans"/>
              <a:sym typeface="Open Sans"/>
            </a:endParaRPr>
          </a:p>
          <a:p>
            <a:pPr marL="457200" algn="just"/>
            <a:endParaRPr sz="1600" dirty="0">
              <a:solidFill>
                <a:srgbClr val="002060"/>
              </a:solidFill>
              <a:latin typeface="Proxima Nova" panose="02000506030000020004" pitchFamily="2" charset="0"/>
              <a:ea typeface="Open Sans"/>
              <a:cs typeface="Open Sans"/>
              <a:sym typeface="Open Sans"/>
            </a:endParaRPr>
          </a:p>
          <a:p>
            <a:pPr marL="419100" indent="-285750" algn="just">
              <a:buClr>
                <a:schemeClr val="lt1"/>
              </a:buClr>
              <a:buSzPts val="1500"/>
              <a:buFont typeface="Arial" panose="020B0604020202020204" pitchFamily="34" charset="0"/>
              <a:buChar char="•"/>
            </a:pPr>
            <a:r>
              <a:rPr lang="en-IN" sz="1600" b="1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Posisi</a:t>
            </a:r>
            <a:r>
              <a:rPr lang="en-IN" sz="1600" b="1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Indonesia 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di dunia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dalam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penguasaan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teknologi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Kecerdasan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Artifisial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di </a:t>
            </a:r>
            <a:r>
              <a:rPr lang="en-IN" sz="1600" b="1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bidang</a:t>
            </a:r>
            <a:r>
              <a:rPr lang="en-IN" sz="1600" b="1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</a:t>
            </a:r>
            <a:r>
              <a:rPr lang="en-IN" sz="1600" b="1" dirty="0" err="1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Agro-Maritim</a:t>
            </a:r>
            <a:r>
              <a:rPr lang="en-IN" sz="1600" b="1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 Top 10 Dunia (2030) </a:t>
            </a:r>
            <a:r>
              <a:rPr lang="en-IN" sz="1600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dan </a:t>
            </a:r>
            <a:r>
              <a:rPr lang="en-IN" sz="1600" b="1" dirty="0">
                <a:solidFill>
                  <a:srgbClr val="002060"/>
                </a:solidFill>
                <a:latin typeface="Proxima Nova" panose="02000506030000020004" pitchFamily="2" charset="0"/>
                <a:ea typeface="Open Sans"/>
                <a:cs typeface="Open Sans"/>
                <a:sym typeface="Open Sans"/>
              </a:rPr>
              <a:t>Top 5 Dunia (2045)</a:t>
            </a:r>
            <a:endParaRPr sz="1600" b="1" dirty="0">
              <a:solidFill>
                <a:srgbClr val="002060"/>
              </a:solidFill>
              <a:latin typeface="Proxima Nova" panose="02000506030000020004" pitchFamily="2" charset="0"/>
              <a:ea typeface="Open Sans"/>
              <a:cs typeface="Open Sans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40701257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p18"/>
          <p:cNvSpPr txBox="1">
            <a:spLocks noGrp="1"/>
          </p:cNvSpPr>
          <p:nvPr>
            <p:ph type="title"/>
          </p:nvPr>
        </p:nvSpPr>
        <p:spPr>
          <a:xfrm>
            <a:off x="611029" y="237746"/>
            <a:ext cx="10969800" cy="711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pPr algn="ctr">
              <a:spcBef>
                <a:spcPts val="0"/>
              </a:spcBef>
              <a:buClr>
                <a:schemeClr val="accent2"/>
              </a:buClr>
              <a:buSzPts val="3600"/>
            </a:pPr>
            <a:r>
              <a:rPr lang="en-IN" sz="2400" b="1" dirty="0" err="1">
                <a:solidFill>
                  <a:schemeClr val="bg1"/>
                </a:solidFill>
                <a:latin typeface="Proxima Nova"/>
                <a:ea typeface="Proxima Nova"/>
                <a:cs typeface="Proxima Nova"/>
                <a:sym typeface="Proxima Nova"/>
              </a:rPr>
              <a:t>Kerangka</a:t>
            </a:r>
            <a:r>
              <a:rPr lang="en-IN" sz="2400" b="1" dirty="0">
                <a:solidFill>
                  <a:schemeClr val="bg1"/>
                </a:solidFill>
                <a:latin typeface="Proxima Nova"/>
                <a:ea typeface="Proxima Nova"/>
                <a:cs typeface="Proxima Nova"/>
                <a:sym typeface="Proxima Nova"/>
              </a:rPr>
              <a:t> </a:t>
            </a:r>
            <a:r>
              <a:rPr lang="en-IN" sz="2400" b="1" dirty="0" err="1">
                <a:solidFill>
                  <a:schemeClr val="bg1"/>
                </a:solidFill>
                <a:latin typeface="Proxima Nova"/>
                <a:ea typeface="Proxima Nova"/>
                <a:cs typeface="Proxima Nova"/>
                <a:sym typeface="Proxima Nova"/>
              </a:rPr>
              <a:t>Kerja</a:t>
            </a:r>
            <a:r>
              <a:rPr lang="en-IN" sz="2400" b="1" dirty="0">
                <a:solidFill>
                  <a:schemeClr val="bg1"/>
                </a:solidFill>
                <a:latin typeface="Proxima Nova"/>
                <a:ea typeface="Proxima Nova"/>
                <a:cs typeface="Proxima Nova"/>
                <a:sym typeface="Proxima Nova"/>
              </a:rPr>
              <a:t> </a:t>
            </a:r>
            <a:r>
              <a:rPr lang="en-IN" sz="2400" b="1" dirty="0" err="1">
                <a:solidFill>
                  <a:schemeClr val="bg1"/>
                </a:solidFill>
                <a:latin typeface="Proxima Nova"/>
                <a:ea typeface="Proxima Nova"/>
                <a:cs typeface="Proxima Nova"/>
                <a:sym typeface="Proxima Nova"/>
              </a:rPr>
              <a:t>Riset</a:t>
            </a:r>
            <a:r>
              <a:rPr lang="en-IN" sz="2400" b="1" dirty="0">
                <a:solidFill>
                  <a:schemeClr val="bg1"/>
                </a:solidFill>
                <a:latin typeface="Proxima Nova"/>
                <a:ea typeface="Proxima Nova"/>
                <a:cs typeface="Proxima Nova"/>
                <a:sym typeface="Proxima Nova"/>
              </a:rPr>
              <a:t> dan </a:t>
            </a:r>
            <a:r>
              <a:rPr lang="en-IN" sz="2400" b="1" dirty="0" err="1">
                <a:solidFill>
                  <a:schemeClr val="bg1"/>
                </a:solidFill>
                <a:latin typeface="Proxima Nova"/>
                <a:ea typeface="Proxima Nova"/>
                <a:cs typeface="Proxima Nova"/>
                <a:sym typeface="Proxima Nova"/>
              </a:rPr>
              <a:t>Inovasi</a:t>
            </a:r>
            <a:r>
              <a:rPr lang="en-IN" sz="2400" b="1" dirty="0">
                <a:solidFill>
                  <a:schemeClr val="bg1"/>
                </a:solidFill>
                <a:latin typeface="Proxima Nova"/>
                <a:ea typeface="Proxima Nova"/>
                <a:cs typeface="Proxima Nova"/>
                <a:sym typeface="Proxima Nova"/>
              </a:rPr>
              <a:t> </a:t>
            </a:r>
            <a:r>
              <a:rPr lang="en-IN" sz="2400" b="1" dirty="0" err="1">
                <a:solidFill>
                  <a:schemeClr val="bg1"/>
                </a:solidFill>
                <a:latin typeface="Proxima Nova"/>
                <a:ea typeface="Proxima Nova"/>
                <a:cs typeface="Proxima Nova"/>
                <a:sym typeface="Proxima Nova"/>
              </a:rPr>
              <a:t>Industri</a:t>
            </a:r>
            <a:r>
              <a:rPr lang="en-IN" sz="2400" b="1" dirty="0">
                <a:solidFill>
                  <a:schemeClr val="bg1"/>
                </a:solidFill>
                <a:latin typeface="Proxima Nova"/>
                <a:ea typeface="Proxima Nova"/>
                <a:cs typeface="Proxima Nova"/>
                <a:sym typeface="Proxima Nova"/>
              </a:rPr>
              <a:t> </a:t>
            </a:r>
            <a:endParaRPr sz="2400" b="1" dirty="0">
              <a:solidFill>
                <a:schemeClr val="bg1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algn="ctr">
              <a:spcBef>
                <a:spcPts val="0"/>
              </a:spcBef>
              <a:buClr>
                <a:schemeClr val="accent2"/>
              </a:buClr>
              <a:buSzPts val="3600"/>
            </a:pPr>
            <a:r>
              <a:rPr lang="en-IN" sz="2400" b="1" dirty="0" err="1">
                <a:solidFill>
                  <a:schemeClr val="bg1"/>
                </a:solidFill>
                <a:latin typeface="Proxima Nova"/>
                <a:ea typeface="Proxima Nova"/>
                <a:cs typeface="Proxima Nova"/>
                <a:sym typeface="Proxima Nova"/>
              </a:rPr>
              <a:t>Kecerdasan</a:t>
            </a:r>
            <a:r>
              <a:rPr lang="en-IN" sz="2400" b="1" dirty="0">
                <a:solidFill>
                  <a:schemeClr val="bg1"/>
                </a:solidFill>
                <a:latin typeface="Proxima Nova"/>
                <a:ea typeface="Proxima Nova"/>
                <a:cs typeface="Proxima Nova"/>
                <a:sym typeface="Proxima Nova"/>
              </a:rPr>
              <a:t> </a:t>
            </a:r>
            <a:r>
              <a:rPr lang="en-IN" sz="2400" b="1" dirty="0" err="1">
                <a:solidFill>
                  <a:schemeClr val="bg1"/>
                </a:solidFill>
                <a:latin typeface="Proxima Nova"/>
                <a:ea typeface="Proxima Nova"/>
                <a:cs typeface="Proxima Nova"/>
                <a:sym typeface="Proxima Nova"/>
              </a:rPr>
              <a:t>Artifisial</a:t>
            </a:r>
            <a:r>
              <a:rPr lang="en-IN" sz="2400" b="1" dirty="0">
                <a:solidFill>
                  <a:schemeClr val="bg1"/>
                </a:solidFill>
                <a:latin typeface="Proxima Nova"/>
                <a:ea typeface="Proxima Nova"/>
                <a:cs typeface="Proxima Nova"/>
                <a:sym typeface="Proxima Nova"/>
              </a:rPr>
              <a:t> (KA)</a:t>
            </a:r>
            <a:endParaRPr sz="2400" b="1" dirty="0">
              <a:solidFill>
                <a:schemeClr val="bg1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195" name="Google Shape;195;p18"/>
          <p:cNvSpPr txBox="1">
            <a:spLocks noGrp="1"/>
          </p:cNvSpPr>
          <p:nvPr>
            <p:ph type="sldNum" idx="12"/>
          </p:nvPr>
        </p:nvSpPr>
        <p:spPr>
          <a:xfrm>
            <a:off x="11208568" y="6165304"/>
            <a:ext cx="372300" cy="3651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pPr algn="ctr"/>
            <a:fld id="{00000000-1234-1234-1234-123412341234}" type="slidenum">
              <a:rPr lang="en-IN"/>
              <a:pPr algn="ctr"/>
              <a:t>3</a:t>
            </a:fld>
            <a:endParaRPr/>
          </a:p>
        </p:txBody>
      </p:sp>
      <p:pic>
        <p:nvPicPr>
          <p:cNvPr id="196" name="Google Shape;196;p1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058627" y="1323464"/>
            <a:ext cx="8772579" cy="529679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553141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Google Shape;203;p19"/>
          <p:cNvSpPr/>
          <p:nvPr/>
        </p:nvSpPr>
        <p:spPr>
          <a:xfrm>
            <a:off x="6278339" y="3974592"/>
            <a:ext cx="4689985" cy="2003287"/>
          </a:xfrm>
          <a:custGeom>
            <a:avLst/>
            <a:gdLst/>
            <a:ahLst/>
            <a:cxnLst/>
            <a:rect l="l" t="t" r="r" b="b"/>
            <a:pathLst>
              <a:path w="6960083" h="1983519" extrusionOk="0">
                <a:moveTo>
                  <a:pt x="0" y="0"/>
                </a:moveTo>
                <a:lnTo>
                  <a:pt x="6960083" y="0"/>
                </a:lnTo>
                <a:lnTo>
                  <a:pt x="6960083" y="1382964"/>
                </a:lnTo>
                <a:lnTo>
                  <a:pt x="6359528" y="1983519"/>
                </a:lnTo>
                <a:lnTo>
                  <a:pt x="0" y="1983519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 sz="2400">
              <a:solidFill>
                <a:schemeClr val="lt1"/>
              </a:solidFill>
              <a:latin typeface="Proxima Nova" panose="02000506030000020004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204" name="Google Shape;204;p19"/>
          <p:cNvSpPr txBox="1">
            <a:spLocks noGrp="1"/>
          </p:cNvSpPr>
          <p:nvPr>
            <p:ph type="sldNum" idx="12"/>
          </p:nvPr>
        </p:nvSpPr>
        <p:spPr>
          <a:xfrm>
            <a:off x="11208568" y="6165305"/>
            <a:ext cx="372404" cy="36512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pPr algn="ctr"/>
            <a:fld id="{00000000-1234-1234-1234-123412341234}" type="slidenum">
              <a:rPr lang="en-IN">
                <a:latin typeface="Proxima Nova" panose="02000506030000020004" pitchFamily="2" charset="0"/>
              </a:rPr>
              <a:pPr algn="ctr"/>
              <a:t>4</a:t>
            </a:fld>
            <a:endParaRPr>
              <a:latin typeface="Proxima Nova" panose="02000506030000020004" pitchFamily="2" charset="0"/>
            </a:endParaRPr>
          </a:p>
        </p:txBody>
      </p:sp>
      <p:sp>
        <p:nvSpPr>
          <p:cNvPr id="205" name="Google Shape;205;p19"/>
          <p:cNvSpPr txBox="1">
            <a:spLocks noGrp="1"/>
          </p:cNvSpPr>
          <p:nvPr>
            <p:ph type="title" idx="4294967295"/>
          </p:nvPr>
        </p:nvSpPr>
        <p:spPr>
          <a:xfrm>
            <a:off x="611029" y="225871"/>
            <a:ext cx="10969800" cy="711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pPr algn="ctr">
              <a:spcBef>
                <a:spcPts val="0"/>
              </a:spcBef>
              <a:buClr>
                <a:schemeClr val="accent2"/>
              </a:buClr>
              <a:buSzPts val="3600"/>
            </a:pPr>
            <a:r>
              <a:rPr lang="en-IN" sz="2400" b="1" dirty="0" err="1">
                <a:solidFill>
                  <a:schemeClr val="bg1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Kolaborasi</a:t>
            </a:r>
            <a:r>
              <a:rPr lang="en-IN" sz="2400" b="1" dirty="0">
                <a:solidFill>
                  <a:schemeClr val="bg1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</a:t>
            </a:r>
            <a:r>
              <a:rPr lang="en-IN" sz="2400" b="1" dirty="0" err="1">
                <a:solidFill>
                  <a:schemeClr val="bg1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Riset</a:t>
            </a:r>
            <a:r>
              <a:rPr lang="en-IN" sz="2400" b="1" dirty="0">
                <a:solidFill>
                  <a:schemeClr val="bg1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dan </a:t>
            </a:r>
            <a:r>
              <a:rPr lang="en-IN" sz="2400" b="1" dirty="0" err="1">
                <a:solidFill>
                  <a:schemeClr val="bg1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Inovasi</a:t>
            </a:r>
            <a:r>
              <a:rPr lang="en-IN" sz="2400" b="1" dirty="0">
                <a:solidFill>
                  <a:schemeClr val="bg1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</a:t>
            </a:r>
            <a:r>
              <a:rPr lang="en-IN" sz="2400" b="1" dirty="0" err="1">
                <a:solidFill>
                  <a:schemeClr val="bg1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Industri</a:t>
            </a:r>
            <a:r>
              <a:rPr lang="en-IN" sz="2400" b="1" dirty="0">
                <a:solidFill>
                  <a:schemeClr val="bg1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KA (KORI-KA)</a:t>
            </a:r>
            <a:endParaRPr sz="2400" b="1" dirty="0">
              <a:solidFill>
                <a:schemeClr val="bg1"/>
              </a:solidFill>
              <a:latin typeface="Proxima Nova" panose="02000506030000020004" pitchFamily="2" charset="0"/>
              <a:ea typeface="Proxima Nova"/>
              <a:cs typeface="Proxima Nova"/>
              <a:sym typeface="Proxima Nova"/>
            </a:endParaRPr>
          </a:p>
          <a:p>
            <a:pPr algn="ctr">
              <a:spcBef>
                <a:spcPts val="0"/>
              </a:spcBef>
              <a:buClr>
                <a:schemeClr val="accent2"/>
              </a:buClr>
              <a:buSzPts val="3600"/>
            </a:pPr>
            <a:r>
              <a:rPr lang="en-IN" sz="2400" b="1" dirty="0" err="1">
                <a:solidFill>
                  <a:schemeClr val="bg1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Orkestrator</a:t>
            </a:r>
            <a:r>
              <a:rPr lang="en-IN" sz="2400" b="1" dirty="0">
                <a:solidFill>
                  <a:schemeClr val="bg1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</a:t>
            </a:r>
            <a:r>
              <a:rPr lang="en-IN" sz="2400" b="1" dirty="0" err="1">
                <a:solidFill>
                  <a:schemeClr val="bg1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Ekosistem</a:t>
            </a:r>
            <a:r>
              <a:rPr lang="en-IN" sz="2400" b="1" dirty="0">
                <a:solidFill>
                  <a:schemeClr val="bg1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</a:t>
            </a:r>
            <a:r>
              <a:rPr lang="en-IN" sz="2400" b="1" dirty="0" err="1">
                <a:solidFill>
                  <a:schemeClr val="bg1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Riset</a:t>
            </a:r>
            <a:r>
              <a:rPr lang="en-IN" sz="2400" b="1" dirty="0">
                <a:solidFill>
                  <a:schemeClr val="bg1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dan </a:t>
            </a:r>
            <a:r>
              <a:rPr lang="en-IN" sz="2400" b="1" dirty="0" err="1">
                <a:solidFill>
                  <a:schemeClr val="bg1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Inovasi</a:t>
            </a:r>
            <a:r>
              <a:rPr lang="en-IN" sz="2400" b="1" dirty="0">
                <a:solidFill>
                  <a:schemeClr val="bg1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KA</a:t>
            </a:r>
            <a:endParaRPr sz="2400" b="1" dirty="0">
              <a:solidFill>
                <a:schemeClr val="bg1"/>
              </a:solidFill>
              <a:latin typeface="Proxima Nova" panose="02000506030000020004" pitchFamily="2" charset="0"/>
              <a:ea typeface="Proxima Nova"/>
              <a:cs typeface="Proxima Nova"/>
              <a:sym typeface="Proxima Nova"/>
            </a:endParaRPr>
          </a:p>
        </p:txBody>
      </p:sp>
      <p:sp>
        <p:nvSpPr>
          <p:cNvPr id="206" name="Google Shape;206;p19"/>
          <p:cNvSpPr/>
          <p:nvPr/>
        </p:nvSpPr>
        <p:spPr>
          <a:xfrm rot="10800000">
            <a:off x="1503765" y="1909128"/>
            <a:ext cx="4689985" cy="1998913"/>
          </a:xfrm>
          <a:custGeom>
            <a:avLst/>
            <a:gdLst/>
            <a:ahLst/>
            <a:cxnLst/>
            <a:rect l="l" t="t" r="r" b="b"/>
            <a:pathLst>
              <a:path w="6960083" h="1983519" extrusionOk="0">
                <a:moveTo>
                  <a:pt x="0" y="0"/>
                </a:moveTo>
                <a:lnTo>
                  <a:pt x="6960083" y="0"/>
                </a:lnTo>
                <a:lnTo>
                  <a:pt x="6960083" y="1382964"/>
                </a:lnTo>
                <a:lnTo>
                  <a:pt x="6359528" y="1983519"/>
                </a:lnTo>
                <a:lnTo>
                  <a:pt x="0" y="1983519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 sz="2400">
              <a:solidFill>
                <a:schemeClr val="lt1"/>
              </a:solidFill>
              <a:latin typeface="Proxima Nova" panose="02000506030000020004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207" name="Google Shape;207;p19"/>
          <p:cNvSpPr/>
          <p:nvPr/>
        </p:nvSpPr>
        <p:spPr>
          <a:xfrm flipH="1">
            <a:off x="1499615" y="3967750"/>
            <a:ext cx="4689985" cy="2003287"/>
          </a:xfrm>
          <a:custGeom>
            <a:avLst/>
            <a:gdLst/>
            <a:ahLst/>
            <a:cxnLst/>
            <a:rect l="l" t="t" r="r" b="b"/>
            <a:pathLst>
              <a:path w="6960083" h="1983519" extrusionOk="0">
                <a:moveTo>
                  <a:pt x="0" y="0"/>
                </a:moveTo>
                <a:lnTo>
                  <a:pt x="6960083" y="0"/>
                </a:lnTo>
                <a:lnTo>
                  <a:pt x="6960083" y="1382964"/>
                </a:lnTo>
                <a:lnTo>
                  <a:pt x="6359528" y="1983519"/>
                </a:lnTo>
                <a:lnTo>
                  <a:pt x="0" y="1983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 sz="2400">
              <a:solidFill>
                <a:schemeClr val="lt1"/>
              </a:solidFill>
              <a:latin typeface="Proxima Nova" panose="02000506030000020004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208" name="Google Shape;208;p19"/>
          <p:cNvSpPr/>
          <p:nvPr/>
        </p:nvSpPr>
        <p:spPr>
          <a:xfrm rot="10800000" flipH="1">
            <a:off x="6281317" y="1921320"/>
            <a:ext cx="4673757" cy="1998913"/>
          </a:xfrm>
          <a:custGeom>
            <a:avLst/>
            <a:gdLst/>
            <a:ahLst/>
            <a:cxnLst/>
            <a:rect l="l" t="t" r="r" b="b"/>
            <a:pathLst>
              <a:path w="6960083" h="1983519" extrusionOk="0">
                <a:moveTo>
                  <a:pt x="0" y="0"/>
                </a:moveTo>
                <a:lnTo>
                  <a:pt x="6960083" y="0"/>
                </a:lnTo>
                <a:lnTo>
                  <a:pt x="6960083" y="1382964"/>
                </a:lnTo>
                <a:lnTo>
                  <a:pt x="6359528" y="1983519"/>
                </a:lnTo>
                <a:lnTo>
                  <a:pt x="0" y="1983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 sz="2400">
              <a:solidFill>
                <a:schemeClr val="lt1"/>
              </a:solidFill>
              <a:latin typeface="Proxima Nova" panose="02000506030000020004" pitchFamily="2" charset="0"/>
              <a:ea typeface="Calibri"/>
              <a:cs typeface="Calibri"/>
              <a:sym typeface="Calibri"/>
            </a:endParaRPr>
          </a:p>
        </p:txBody>
      </p:sp>
      <p:sp>
        <p:nvSpPr>
          <p:cNvPr id="209" name="Google Shape;209;p19"/>
          <p:cNvSpPr txBox="1"/>
          <p:nvPr/>
        </p:nvSpPr>
        <p:spPr>
          <a:xfrm>
            <a:off x="1639167" y="1886461"/>
            <a:ext cx="4342983" cy="17449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/>
            <a:r>
              <a:rPr lang="en-IN" sz="2400" b="1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Industri</a:t>
            </a:r>
            <a:endParaRPr sz="2400" b="1" dirty="0">
              <a:solidFill>
                <a:srgbClr val="FFFFFF"/>
              </a:solidFill>
              <a:latin typeface="Proxima Nova" panose="02000506030000020004" pitchFamily="2" charset="0"/>
              <a:ea typeface="Proxima Nova"/>
              <a:cs typeface="Proxima Nova"/>
              <a:sym typeface="Proxima Nova"/>
            </a:endParaRPr>
          </a:p>
          <a:p>
            <a:pPr algn="ctr"/>
            <a:endParaRPr b="1" dirty="0">
              <a:solidFill>
                <a:srgbClr val="FFFFFF"/>
              </a:solidFill>
              <a:latin typeface="Proxima Nova" panose="02000506030000020004" pitchFamily="2" charset="0"/>
              <a:ea typeface="Proxima Nova"/>
              <a:cs typeface="Proxima Nova"/>
              <a:sym typeface="Proxima Nova"/>
            </a:endParaRPr>
          </a:p>
          <a:p>
            <a:pPr marL="180975" indent="-180975">
              <a:buClr>
                <a:srgbClr val="FFFFFF"/>
              </a:buClr>
              <a:buSzPts val="1600"/>
              <a:buFont typeface="Proxima Nova"/>
              <a:buChar char="•"/>
            </a:pP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Mendefinisikan</a:t>
            </a:r>
            <a:r>
              <a:rPr lang="en-IN" sz="1600" dirty="0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</a:t>
            </a: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studi</a:t>
            </a:r>
            <a:r>
              <a:rPr lang="en-IN" sz="1600" dirty="0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</a:t>
            </a: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kasus</a:t>
            </a:r>
            <a:endParaRPr sz="1600" dirty="0">
              <a:solidFill>
                <a:srgbClr val="FFFFFF"/>
              </a:solidFill>
              <a:latin typeface="Proxima Nova" panose="02000506030000020004" pitchFamily="2" charset="0"/>
              <a:ea typeface="Proxima Nova"/>
              <a:cs typeface="Proxima Nova"/>
              <a:sym typeface="Proxima Nova"/>
            </a:endParaRPr>
          </a:p>
          <a:p>
            <a:pPr marL="180975" indent="-180975">
              <a:buClr>
                <a:srgbClr val="FFFFFF"/>
              </a:buClr>
              <a:buSzPts val="1600"/>
              <a:buFont typeface="Proxima Nova"/>
              <a:buChar char="•"/>
            </a:pP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Menyediakan</a:t>
            </a:r>
            <a:r>
              <a:rPr lang="en-IN" sz="1600" dirty="0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data</a:t>
            </a:r>
            <a:endParaRPr dirty="0">
              <a:solidFill>
                <a:srgbClr val="FFFFFF"/>
              </a:solidFill>
              <a:latin typeface="Proxima Nova" panose="02000506030000020004" pitchFamily="2" charset="0"/>
              <a:ea typeface="Proxima Nova"/>
              <a:cs typeface="Proxima Nova"/>
              <a:sym typeface="Proxima Nova"/>
            </a:endParaRPr>
          </a:p>
          <a:p>
            <a:pPr marL="180975" indent="-180975">
              <a:buClr>
                <a:srgbClr val="FFFFFF"/>
              </a:buClr>
              <a:buSzPts val="1600"/>
              <a:buFont typeface="Proxima Nova"/>
              <a:buChar char="•"/>
            </a:pP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Merumuskan</a:t>
            </a:r>
            <a:r>
              <a:rPr lang="en-IN" sz="1600" dirty="0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</a:t>
            </a: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syarat</a:t>
            </a:r>
            <a:r>
              <a:rPr lang="en-IN" sz="1600" dirty="0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dan </a:t>
            </a: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ketentuan</a:t>
            </a:r>
            <a:endParaRPr sz="1600" dirty="0">
              <a:solidFill>
                <a:srgbClr val="FFFFFF"/>
              </a:solidFill>
              <a:latin typeface="Proxima Nova" panose="02000506030000020004" pitchFamily="2" charset="0"/>
              <a:ea typeface="Proxima Nova"/>
              <a:cs typeface="Proxima Nova"/>
              <a:sym typeface="Proxima Nova"/>
            </a:endParaRPr>
          </a:p>
          <a:p>
            <a:pPr marL="180975" indent="-180975">
              <a:buClr>
                <a:srgbClr val="FFFFFF"/>
              </a:buClr>
              <a:buSzPts val="1600"/>
              <a:buFont typeface="Proxima Nova"/>
              <a:buChar char="•"/>
            </a:pP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Pendanaan</a:t>
            </a:r>
            <a:endParaRPr sz="1600" dirty="0">
              <a:solidFill>
                <a:srgbClr val="FFFFFF"/>
              </a:solidFill>
              <a:latin typeface="Proxima Nova" panose="02000506030000020004" pitchFamily="2" charset="0"/>
              <a:ea typeface="Proxima Nova"/>
              <a:cs typeface="Proxima Nova"/>
              <a:sym typeface="Proxima Nova"/>
            </a:endParaRPr>
          </a:p>
        </p:txBody>
      </p:sp>
      <p:sp>
        <p:nvSpPr>
          <p:cNvPr id="210" name="Google Shape;210;p19"/>
          <p:cNvSpPr txBox="1"/>
          <p:nvPr/>
        </p:nvSpPr>
        <p:spPr>
          <a:xfrm>
            <a:off x="6394603" y="1886461"/>
            <a:ext cx="4440911" cy="17449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/>
            <a:r>
              <a:rPr lang="en-IN" sz="2400" b="1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Pemerintah</a:t>
            </a:r>
            <a:endParaRPr sz="2400" b="1" dirty="0">
              <a:solidFill>
                <a:srgbClr val="FFFFFF"/>
              </a:solidFill>
              <a:latin typeface="Proxima Nova" panose="02000506030000020004" pitchFamily="2" charset="0"/>
              <a:ea typeface="Proxima Nova"/>
              <a:cs typeface="Proxima Nova"/>
              <a:sym typeface="Proxima Nova"/>
            </a:endParaRPr>
          </a:p>
          <a:p>
            <a:pPr algn="ctr"/>
            <a:endParaRPr sz="1600" b="1" dirty="0">
              <a:solidFill>
                <a:srgbClr val="FFFFFF"/>
              </a:solidFill>
              <a:latin typeface="Proxima Nova" panose="02000506030000020004" pitchFamily="2" charset="0"/>
              <a:ea typeface="Proxima Nova"/>
              <a:cs typeface="Proxima Nova"/>
              <a:sym typeface="Proxima Nova"/>
            </a:endParaRPr>
          </a:p>
          <a:p>
            <a:pPr marL="180975" indent="-180975">
              <a:buClr>
                <a:srgbClr val="FFFFFF"/>
              </a:buClr>
              <a:buSzPts val="1600"/>
              <a:buFont typeface="Proxima Nova"/>
              <a:buChar char="•"/>
            </a:pP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Membuat</a:t>
            </a:r>
            <a:r>
              <a:rPr lang="en-IN" sz="1600" dirty="0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</a:t>
            </a:r>
            <a:r>
              <a:rPr lang="en-IN" sz="1600" i="1" dirty="0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Grand Challenges</a:t>
            </a:r>
            <a:endParaRPr dirty="0">
              <a:solidFill>
                <a:srgbClr val="FFFFFF"/>
              </a:solidFill>
              <a:latin typeface="Proxima Nova" panose="02000506030000020004" pitchFamily="2" charset="0"/>
              <a:ea typeface="Proxima Nova"/>
              <a:cs typeface="Proxima Nova"/>
              <a:sym typeface="Proxima Nova"/>
            </a:endParaRPr>
          </a:p>
          <a:p>
            <a:pPr marL="180975" indent="-180975">
              <a:buClr>
                <a:srgbClr val="FFFFFF"/>
              </a:buClr>
              <a:buSzPts val="1600"/>
              <a:buFont typeface="Proxima Nova"/>
              <a:buChar char="•"/>
            </a:pP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Menentukan</a:t>
            </a:r>
            <a:r>
              <a:rPr lang="en-IN" sz="1600" dirty="0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target-target yang </a:t>
            </a: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harus</a:t>
            </a:r>
            <a:r>
              <a:rPr lang="en-IN" sz="1600" dirty="0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</a:t>
            </a: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dicapai</a:t>
            </a:r>
            <a:endParaRPr sz="1600" dirty="0">
              <a:solidFill>
                <a:srgbClr val="FFFFFF"/>
              </a:solidFill>
              <a:latin typeface="Proxima Nova" panose="02000506030000020004" pitchFamily="2" charset="0"/>
              <a:ea typeface="Proxima Nova"/>
              <a:cs typeface="Proxima Nova"/>
              <a:sym typeface="Proxima Nova"/>
            </a:endParaRPr>
          </a:p>
          <a:p>
            <a:pPr marL="180975" indent="-180975">
              <a:buClr>
                <a:srgbClr val="FFFFFF"/>
              </a:buClr>
              <a:buSzPts val="1600"/>
              <a:buFont typeface="Proxima Nova"/>
              <a:buChar char="•"/>
            </a:pP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Membuat</a:t>
            </a:r>
            <a:r>
              <a:rPr lang="en-IN" sz="1600" dirty="0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</a:t>
            </a: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kebijakan</a:t>
            </a:r>
            <a:r>
              <a:rPr lang="en-IN" sz="1600" dirty="0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dan </a:t>
            </a: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regulasi</a:t>
            </a:r>
            <a:endParaRPr sz="1600" dirty="0">
              <a:solidFill>
                <a:srgbClr val="FFFFFF"/>
              </a:solidFill>
              <a:latin typeface="Proxima Nova" panose="02000506030000020004" pitchFamily="2" charset="0"/>
              <a:ea typeface="Proxima Nova"/>
              <a:cs typeface="Proxima Nova"/>
              <a:sym typeface="Proxima Nova"/>
            </a:endParaRPr>
          </a:p>
          <a:p>
            <a:pPr marL="180975" indent="-180975">
              <a:buClr>
                <a:srgbClr val="FFFFFF"/>
              </a:buClr>
              <a:buSzPts val="1600"/>
              <a:buFont typeface="Proxima Nova"/>
              <a:buChar char="•"/>
            </a:pP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Pendanaan</a:t>
            </a:r>
            <a:endParaRPr sz="1600" dirty="0">
              <a:solidFill>
                <a:srgbClr val="FFFFFF"/>
              </a:solidFill>
              <a:latin typeface="Proxima Nova" panose="02000506030000020004" pitchFamily="2" charset="0"/>
              <a:ea typeface="Proxima Nova"/>
              <a:cs typeface="Proxima Nova"/>
              <a:sym typeface="Proxima Nova"/>
            </a:endParaRPr>
          </a:p>
        </p:txBody>
      </p:sp>
      <p:sp>
        <p:nvSpPr>
          <p:cNvPr id="211" name="Google Shape;211;p19"/>
          <p:cNvSpPr txBox="1"/>
          <p:nvPr/>
        </p:nvSpPr>
        <p:spPr>
          <a:xfrm>
            <a:off x="1639167" y="4035552"/>
            <a:ext cx="4342983" cy="17449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/>
            <a:r>
              <a:rPr lang="en-IN" sz="2400" b="1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Komunitas</a:t>
            </a:r>
            <a:endParaRPr sz="2400" b="1" dirty="0">
              <a:solidFill>
                <a:srgbClr val="FFFFFF"/>
              </a:solidFill>
              <a:latin typeface="Proxima Nova" panose="02000506030000020004" pitchFamily="2" charset="0"/>
              <a:ea typeface="Proxima Nova"/>
              <a:cs typeface="Proxima Nova"/>
              <a:sym typeface="Proxima Nova"/>
            </a:endParaRPr>
          </a:p>
          <a:p>
            <a:endParaRPr b="1" dirty="0">
              <a:solidFill>
                <a:srgbClr val="FFFFFF"/>
              </a:solidFill>
              <a:latin typeface="Proxima Nova" panose="02000506030000020004" pitchFamily="2" charset="0"/>
              <a:ea typeface="Proxima Nova"/>
              <a:cs typeface="Proxima Nova"/>
              <a:sym typeface="Proxima Nova"/>
            </a:endParaRPr>
          </a:p>
          <a:p>
            <a:pPr marL="180975" indent="-180975">
              <a:buClr>
                <a:srgbClr val="FFFFFF"/>
              </a:buClr>
              <a:buSzPts val="1600"/>
              <a:buFont typeface="Proxima Nova"/>
              <a:buChar char="•"/>
            </a:pP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Kolaborasi</a:t>
            </a:r>
            <a:r>
              <a:rPr lang="en-IN" sz="1600" dirty="0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</a:t>
            </a: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antar</a:t>
            </a:r>
            <a:r>
              <a:rPr lang="en-IN" sz="1600" dirty="0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</a:t>
            </a: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komunitas</a:t>
            </a:r>
            <a:endParaRPr sz="1600" dirty="0">
              <a:solidFill>
                <a:srgbClr val="FFFFFF"/>
              </a:solidFill>
              <a:latin typeface="Proxima Nova" panose="02000506030000020004" pitchFamily="2" charset="0"/>
              <a:ea typeface="Proxima Nova"/>
              <a:cs typeface="Proxima Nova"/>
              <a:sym typeface="Proxima Nova"/>
            </a:endParaRPr>
          </a:p>
          <a:p>
            <a:pPr marL="180975" indent="-180975">
              <a:buClr>
                <a:srgbClr val="FFFFFF"/>
              </a:buClr>
              <a:buSzPts val="1600"/>
              <a:buFont typeface="Proxima Nova"/>
              <a:buChar char="•"/>
            </a:pP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Menyediakan</a:t>
            </a:r>
            <a:r>
              <a:rPr lang="en-IN" sz="1600" dirty="0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</a:t>
            </a: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solusi</a:t>
            </a:r>
            <a:r>
              <a:rPr lang="en-IN" sz="1600" dirty="0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</a:t>
            </a:r>
            <a:endParaRPr dirty="0">
              <a:solidFill>
                <a:srgbClr val="FFFFFF"/>
              </a:solidFill>
              <a:latin typeface="Proxima Nova" panose="02000506030000020004" pitchFamily="2" charset="0"/>
              <a:ea typeface="Proxima Nova"/>
              <a:cs typeface="Proxima Nova"/>
              <a:sym typeface="Proxima Nova"/>
            </a:endParaRPr>
          </a:p>
        </p:txBody>
      </p:sp>
      <p:sp>
        <p:nvSpPr>
          <p:cNvPr id="212" name="Google Shape;212;p19"/>
          <p:cNvSpPr txBox="1"/>
          <p:nvPr/>
        </p:nvSpPr>
        <p:spPr>
          <a:xfrm>
            <a:off x="6492481" y="4017960"/>
            <a:ext cx="4342983" cy="17449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/>
            <a:r>
              <a:rPr lang="en-IN" sz="2400" b="1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Akademia</a:t>
            </a:r>
            <a:endParaRPr sz="2400" b="1" dirty="0">
              <a:solidFill>
                <a:srgbClr val="FFFFFF"/>
              </a:solidFill>
              <a:latin typeface="Proxima Nova" panose="02000506030000020004" pitchFamily="2" charset="0"/>
              <a:ea typeface="Proxima Nova"/>
              <a:cs typeface="Proxima Nova"/>
              <a:sym typeface="Proxima Nova"/>
            </a:endParaRPr>
          </a:p>
          <a:p>
            <a:pPr algn="ctr"/>
            <a:endParaRPr sz="1600" b="1" dirty="0">
              <a:solidFill>
                <a:srgbClr val="FFFFFF"/>
              </a:solidFill>
              <a:latin typeface="Proxima Nova" panose="02000506030000020004" pitchFamily="2" charset="0"/>
              <a:ea typeface="Proxima Nova"/>
              <a:cs typeface="Proxima Nova"/>
              <a:sym typeface="Proxima Nova"/>
            </a:endParaRPr>
          </a:p>
          <a:p>
            <a:pPr marL="285750" indent="-285750">
              <a:buClr>
                <a:srgbClr val="FFFFFF"/>
              </a:buClr>
              <a:buSzPts val="1600"/>
              <a:buFont typeface="Proxima Nova"/>
              <a:buChar char="•"/>
            </a:pP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Pengaplikasian</a:t>
            </a:r>
            <a:r>
              <a:rPr lang="en-IN" sz="1600" dirty="0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</a:t>
            </a: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hasil</a:t>
            </a:r>
            <a:r>
              <a:rPr lang="en-IN" sz="1600" dirty="0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</a:t>
            </a: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riset</a:t>
            </a:r>
            <a:r>
              <a:rPr lang="en-IN" sz="1600" dirty="0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fundamental</a:t>
            </a:r>
            <a:endParaRPr dirty="0">
              <a:solidFill>
                <a:srgbClr val="FFFFFF"/>
              </a:solidFill>
              <a:latin typeface="Proxima Nova" panose="02000506030000020004" pitchFamily="2" charset="0"/>
              <a:ea typeface="Proxima Nova"/>
              <a:cs typeface="Proxima Nova"/>
              <a:sym typeface="Proxima Nova"/>
            </a:endParaRPr>
          </a:p>
          <a:p>
            <a:pPr marL="285750" indent="-285750">
              <a:buClr>
                <a:srgbClr val="FFFFFF"/>
              </a:buClr>
              <a:buSzPts val="1600"/>
              <a:buFont typeface="Proxima Nova"/>
              <a:buChar char="•"/>
            </a:pP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Memahami</a:t>
            </a:r>
            <a:r>
              <a:rPr lang="en-IN" sz="1600" dirty="0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</a:t>
            </a: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permasalahan</a:t>
            </a:r>
            <a:r>
              <a:rPr lang="en-IN" sz="1600" dirty="0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pada dunia </a:t>
            </a: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nyata</a:t>
            </a:r>
            <a:endParaRPr sz="1600" dirty="0">
              <a:solidFill>
                <a:srgbClr val="FFFFFF"/>
              </a:solidFill>
              <a:latin typeface="Proxima Nova" panose="02000506030000020004" pitchFamily="2" charset="0"/>
              <a:ea typeface="Proxima Nova"/>
              <a:cs typeface="Proxima Nova"/>
              <a:sym typeface="Proxima Nova"/>
            </a:endParaRPr>
          </a:p>
          <a:p>
            <a:pPr marL="285750" indent="-285750">
              <a:buClr>
                <a:srgbClr val="FFFFFF"/>
              </a:buClr>
              <a:buSzPts val="1600"/>
              <a:buFont typeface="Proxima Nova"/>
              <a:buChar char="•"/>
            </a:pP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Akses</a:t>
            </a:r>
            <a:r>
              <a:rPr lang="en-IN" sz="1600" dirty="0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</a:t>
            </a: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kepada</a:t>
            </a:r>
            <a:r>
              <a:rPr lang="en-IN" sz="1600" dirty="0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data </a:t>
            </a: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atau</a:t>
            </a:r>
            <a:r>
              <a:rPr lang="en-IN" sz="1600" dirty="0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</a:t>
            </a: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studi</a:t>
            </a:r>
            <a:r>
              <a:rPr lang="en-IN" sz="1600" dirty="0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</a:t>
            </a: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kasus</a:t>
            </a:r>
            <a:r>
              <a:rPr lang="en-IN" sz="1600" dirty="0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</a:t>
            </a: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dari</a:t>
            </a:r>
            <a:r>
              <a:rPr lang="en-IN" sz="1600" dirty="0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</a:t>
            </a:r>
            <a:r>
              <a:rPr lang="en-IN" sz="1600" dirty="0" err="1">
                <a:solidFill>
                  <a:srgbClr val="FFFFFF"/>
                </a:solidFill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industri</a:t>
            </a:r>
            <a:endParaRPr sz="1600" dirty="0">
              <a:solidFill>
                <a:srgbClr val="FFFFFF"/>
              </a:solidFill>
              <a:latin typeface="Proxima Nova" panose="02000506030000020004" pitchFamily="2" charset="0"/>
              <a:ea typeface="Proxima Nova"/>
              <a:cs typeface="Proxima Nova"/>
              <a:sym typeface="Proxima Nova"/>
            </a:endParaRP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00AFBF56-AE95-9545-8211-AACFC1394F2C}"/>
              </a:ext>
            </a:extLst>
          </p:cNvPr>
          <p:cNvSpPr/>
          <p:nvPr/>
        </p:nvSpPr>
        <p:spPr>
          <a:xfrm>
            <a:off x="5130692" y="3631364"/>
            <a:ext cx="2221084" cy="711001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b="1" dirty="0"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KORI-KA</a:t>
            </a:r>
            <a:endParaRPr lang="en-IN" sz="1050" dirty="0">
              <a:latin typeface="Proxima Nova" panose="02000506030000020004" pitchFamily="2" charset="0"/>
              <a:ea typeface="Proxima Nova"/>
              <a:cs typeface="Proxima Nova"/>
              <a:sym typeface="Proxima Nova"/>
            </a:endParaRPr>
          </a:p>
          <a:p>
            <a:pPr algn="ctr"/>
            <a:r>
              <a:rPr lang="en-IN" sz="1400" b="1" dirty="0" err="1"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Orkestrator</a:t>
            </a:r>
            <a:r>
              <a:rPr lang="en-IN" sz="1400" b="1" dirty="0">
                <a:latin typeface="Proxima Nova" panose="02000506030000020004" pitchFamily="2" charset="0"/>
                <a:ea typeface="Proxima Nova"/>
                <a:cs typeface="Proxima Nova"/>
                <a:sym typeface="Proxima Nova"/>
              </a:rPr>
              <a:t> Quad-Helix</a:t>
            </a:r>
            <a:endParaRPr lang="en-IN" sz="1050" dirty="0">
              <a:latin typeface="Proxima Nova" panose="02000506030000020004" pitchFamily="2" charset="0"/>
              <a:ea typeface="Proxima Nova"/>
              <a:cs typeface="Proxima Nova"/>
              <a:sym typeface="Proxima Nova"/>
            </a:endParaRPr>
          </a:p>
        </p:txBody>
      </p:sp>
    </p:spTree>
    <p:extLst>
      <p:ext uri="{BB962C8B-B14F-4D97-AF65-F5344CB8AC3E}">
        <p14:creationId xmlns:p14="http://schemas.microsoft.com/office/powerpoint/2010/main" val="8789184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>
            <a:extLst>
              <a:ext uri="{FF2B5EF4-FFF2-40B4-BE49-F238E27FC236}">
                <a16:creationId xmlns:a16="http://schemas.microsoft.com/office/drawing/2014/main" id="{2FB80D7B-131B-4ACE-B715-983680AA2A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193" y="85777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4" imgW="346" imgH="343" progId="TCLayout.ActiveDocument.1">
                  <p:embed/>
                </p:oleObj>
              </mc:Choice>
              <mc:Fallback>
                <p:oleObj name="think-cell Slide" r:id="rId4" imgW="346" imgH="343" progId="TCLayout.ActiveDocument.1">
                  <p:embed/>
                  <p:pic>
                    <p:nvPicPr>
                      <p:cNvPr id="34" name="Object 33" hidden="1">
                        <a:extLst>
                          <a:ext uri="{FF2B5EF4-FFF2-40B4-BE49-F238E27FC236}">
                            <a16:creationId xmlns:a16="http://schemas.microsoft.com/office/drawing/2014/main" id="{2FB80D7B-131B-4ACE-B715-983680AA2A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193" y="85777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0" name="Group 49">
            <a:extLst>
              <a:ext uri="{FF2B5EF4-FFF2-40B4-BE49-F238E27FC236}">
                <a16:creationId xmlns:a16="http://schemas.microsoft.com/office/drawing/2014/main" id="{9316F54F-A792-48F0-8BC3-693C0FFEA41F}"/>
              </a:ext>
            </a:extLst>
          </p:cNvPr>
          <p:cNvGrpSpPr/>
          <p:nvPr/>
        </p:nvGrpSpPr>
        <p:grpSpPr>
          <a:xfrm>
            <a:off x="1900720" y="1494523"/>
            <a:ext cx="9160927" cy="5015342"/>
            <a:chOff x="1721150" y="1388104"/>
            <a:chExt cx="9160927" cy="5015342"/>
          </a:xfrm>
        </p:grpSpPr>
        <p:graphicFrame>
          <p:nvGraphicFramePr>
            <p:cNvPr id="57" name="Diagram 56">
              <a:extLst>
                <a:ext uri="{FF2B5EF4-FFF2-40B4-BE49-F238E27FC236}">
                  <a16:creationId xmlns:a16="http://schemas.microsoft.com/office/drawing/2014/main" id="{9524B36F-CADA-48D6-BD68-7E282D18402D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929137409"/>
                </p:ext>
              </p:extLst>
            </p:nvPr>
          </p:nvGraphicFramePr>
          <p:xfrm>
            <a:off x="1721150" y="1388104"/>
            <a:ext cx="9160927" cy="474980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6" r:lo="rId7" r:qs="rId8" r:cs="rId9"/>
            </a:graphicData>
          </a:graphic>
        </p:graphicFrame>
        <p:sp>
          <p:nvSpPr>
            <p:cNvPr id="79" name="Curved Down Arrow 7">
              <a:extLst>
                <a:ext uri="{FF2B5EF4-FFF2-40B4-BE49-F238E27FC236}">
                  <a16:creationId xmlns:a16="http://schemas.microsoft.com/office/drawing/2014/main" id="{0A2959B1-B005-4DEC-A448-596CE2FEC817}"/>
                </a:ext>
              </a:extLst>
            </p:cNvPr>
            <p:cNvSpPr/>
            <p:nvPr/>
          </p:nvSpPr>
          <p:spPr>
            <a:xfrm rot="10800000">
              <a:off x="2311875" y="4764044"/>
              <a:ext cx="7736983" cy="1639402"/>
            </a:xfrm>
            <a:prstGeom prst="curvedDownArrow">
              <a:avLst/>
            </a:prstGeom>
            <a:solidFill>
              <a:schemeClr val="accent5">
                <a:lumMod val="5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  <a:latin typeface="Proxima Nova" panose="02000506030000020004" pitchFamily="2" charset="0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238FD9D9-E2EC-4561-901A-743282304687}"/>
              </a:ext>
            </a:extLst>
          </p:cNvPr>
          <p:cNvSpPr txBox="1"/>
          <p:nvPr/>
        </p:nvSpPr>
        <p:spPr>
          <a:xfrm>
            <a:off x="4677291" y="5733890"/>
            <a:ext cx="391806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i="1" dirty="0">
                <a:solidFill>
                  <a:schemeClr val="accent5">
                    <a:lumMod val="50000"/>
                  </a:schemeClr>
                </a:solidFill>
                <a:latin typeface="Proxima Nova" panose="02000506030000020004" pitchFamily="2" charset="0"/>
              </a:rPr>
              <a:t>Demand-driven Innovation</a:t>
            </a:r>
          </a:p>
        </p:txBody>
      </p:sp>
      <p:sp>
        <p:nvSpPr>
          <p:cNvPr id="46" name="Google Shape;205;p19">
            <a:extLst>
              <a:ext uri="{FF2B5EF4-FFF2-40B4-BE49-F238E27FC236}">
                <a16:creationId xmlns:a16="http://schemas.microsoft.com/office/drawing/2014/main" id="{1C979789-3B44-8740-8498-75CD0FA32AE0}"/>
              </a:ext>
            </a:extLst>
          </p:cNvPr>
          <p:cNvSpPr txBox="1">
            <a:spLocks/>
          </p:cNvSpPr>
          <p:nvPr/>
        </p:nvSpPr>
        <p:spPr>
          <a:xfrm>
            <a:off x="611029" y="225871"/>
            <a:ext cx="10969800" cy="711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>
                <a:solidFill>
                  <a:schemeClr val="bg1"/>
                </a:solidFill>
                <a:latin typeface="Proxima Nova" panose="02000506030000020004" pitchFamily="2" charset="0"/>
              </a:rPr>
              <a:t>Proses </a:t>
            </a:r>
            <a:r>
              <a:rPr lang="en-US" sz="2400" b="1" dirty="0" err="1">
                <a:solidFill>
                  <a:schemeClr val="bg1"/>
                </a:solidFill>
                <a:latin typeface="Proxima Nova" panose="02000506030000020004" pitchFamily="2" charset="0"/>
              </a:rPr>
              <a:t>Riset</a:t>
            </a:r>
            <a:r>
              <a:rPr lang="en-US" sz="2400" b="1" dirty="0">
                <a:solidFill>
                  <a:schemeClr val="bg1"/>
                </a:solidFill>
                <a:latin typeface="Proxima Nova" panose="02000506030000020004" pitchFamily="2" charset="0"/>
              </a:rPr>
              <a:t> dan </a:t>
            </a:r>
            <a:r>
              <a:rPr lang="en-US" sz="2400" b="1" dirty="0" err="1">
                <a:solidFill>
                  <a:schemeClr val="bg1"/>
                </a:solidFill>
                <a:latin typeface="Proxima Nova" panose="02000506030000020004" pitchFamily="2" charset="0"/>
              </a:rPr>
              <a:t>Inovasi</a:t>
            </a:r>
            <a:r>
              <a:rPr lang="en-US" sz="2400" b="1" dirty="0">
                <a:solidFill>
                  <a:schemeClr val="bg1"/>
                </a:solidFill>
                <a:latin typeface="Proxima Nova" panose="02000506030000020004" pitchFamily="2" charset="0"/>
              </a:rPr>
              <a:t> </a:t>
            </a:r>
            <a:r>
              <a:rPr lang="en-US" sz="2400" b="1" dirty="0" err="1">
                <a:solidFill>
                  <a:schemeClr val="bg1"/>
                </a:solidFill>
                <a:latin typeface="Proxima Nova" panose="02000506030000020004" pitchFamily="2" charset="0"/>
              </a:rPr>
              <a:t>Industri</a:t>
            </a:r>
            <a:br>
              <a:rPr lang="en-US" sz="2400" b="1" dirty="0">
                <a:solidFill>
                  <a:schemeClr val="bg1"/>
                </a:solidFill>
                <a:latin typeface="Proxima Nova" panose="02000506030000020004" pitchFamily="2" charset="0"/>
              </a:rPr>
            </a:br>
            <a:r>
              <a:rPr lang="en-US" sz="2400" b="1" dirty="0" err="1">
                <a:solidFill>
                  <a:schemeClr val="bg1"/>
                </a:solidFill>
                <a:latin typeface="Proxima Nova" panose="02000506030000020004" pitchFamily="2" charset="0"/>
              </a:rPr>
              <a:t>Kecerdasan</a:t>
            </a:r>
            <a:r>
              <a:rPr lang="en-US" sz="2400" b="1" dirty="0">
                <a:solidFill>
                  <a:schemeClr val="bg1"/>
                </a:solidFill>
                <a:latin typeface="Proxima Nova" panose="02000506030000020004" pitchFamily="2" charset="0"/>
              </a:rPr>
              <a:t> </a:t>
            </a:r>
            <a:r>
              <a:rPr lang="en-US" sz="2400" b="1" dirty="0" err="1">
                <a:solidFill>
                  <a:schemeClr val="bg1"/>
                </a:solidFill>
                <a:latin typeface="Proxima Nova" panose="02000506030000020004" pitchFamily="2" charset="0"/>
              </a:rPr>
              <a:t>Artifisial</a:t>
            </a:r>
            <a:endParaRPr lang="id-ID" sz="2400" b="1" dirty="0">
              <a:solidFill>
                <a:schemeClr val="bg1"/>
              </a:solidFill>
              <a:latin typeface="Proxima Nova" panose="02000506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52655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18497"/>
            <a:ext cx="11145078" cy="787864"/>
          </a:xfrm>
        </p:spPr>
        <p:txBody>
          <a:bodyPr>
            <a:normAutofit/>
          </a:bodyPr>
          <a:lstStyle/>
          <a:p>
            <a:pPr algn="ctr"/>
            <a:r>
              <a:rPr lang="en-IN" sz="2400" b="1" dirty="0" err="1">
                <a:solidFill>
                  <a:schemeClr val="bg1"/>
                </a:solidFill>
                <a:latin typeface="Proxima Nova" panose="02000506030000020004" pitchFamily="2" charset="0"/>
                <a:ea typeface="+mn-ea"/>
                <a:cs typeface="+mn-cs"/>
              </a:rPr>
              <a:t>Sektor</a:t>
            </a:r>
            <a:r>
              <a:rPr lang="en-IN" sz="2400" b="1" dirty="0">
                <a:solidFill>
                  <a:schemeClr val="bg1"/>
                </a:solidFill>
                <a:latin typeface="Proxima Nova" panose="02000506030000020004" pitchFamily="2" charset="0"/>
                <a:ea typeface="+mn-ea"/>
                <a:cs typeface="+mn-cs"/>
              </a:rPr>
              <a:t> </a:t>
            </a:r>
            <a:r>
              <a:rPr lang="en-IN" sz="2400" b="1" dirty="0" err="1">
                <a:solidFill>
                  <a:schemeClr val="bg1"/>
                </a:solidFill>
                <a:latin typeface="Proxima Nova" panose="02000506030000020004" pitchFamily="2" charset="0"/>
                <a:ea typeface="+mn-ea"/>
                <a:cs typeface="+mn-cs"/>
              </a:rPr>
              <a:t>Layanan</a:t>
            </a:r>
            <a:r>
              <a:rPr lang="en-IN" sz="2400" b="1" dirty="0">
                <a:solidFill>
                  <a:schemeClr val="bg1"/>
                </a:solidFill>
                <a:latin typeface="Proxima Nova" panose="02000506030000020004" pitchFamily="2" charset="0"/>
                <a:ea typeface="+mn-ea"/>
                <a:cs typeface="+mn-cs"/>
              </a:rPr>
              <a:t> </a:t>
            </a:r>
            <a:r>
              <a:rPr lang="en-IN" sz="2400" b="1" dirty="0" err="1">
                <a:solidFill>
                  <a:schemeClr val="bg1"/>
                </a:solidFill>
                <a:latin typeface="Proxima Nova" panose="02000506030000020004" pitchFamily="2" charset="0"/>
                <a:ea typeface="+mn-ea"/>
                <a:cs typeface="+mn-cs"/>
              </a:rPr>
              <a:t>Publik</a:t>
            </a:r>
            <a:r>
              <a:rPr lang="en-IN" sz="2400" b="1" dirty="0">
                <a:solidFill>
                  <a:schemeClr val="bg1"/>
                </a:solidFill>
                <a:latin typeface="Proxima Nova" panose="02000506030000020004" pitchFamily="2" charset="0"/>
                <a:ea typeface="+mn-ea"/>
                <a:cs typeface="+mn-cs"/>
              </a:rPr>
              <a:t> dan </a:t>
            </a:r>
            <a:r>
              <a:rPr lang="en-IN" sz="2400" b="1" dirty="0" err="1">
                <a:solidFill>
                  <a:schemeClr val="bg1"/>
                </a:solidFill>
                <a:latin typeface="Proxima Nova" panose="02000506030000020004" pitchFamily="2" charset="0"/>
                <a:ea typeface="+mn-ea"/>
                <a:cs typeface="+mn-cs"/>
              </a:rPr>
              <a:t>Industri</a:t>
            </a:r>
            <a:br>
              <a:rPr lang="en-IN" sz="2400" b="1" dirty="0">
                <a:solidFill>
                  <a:schemeClr val="bg1"/>
                </a:solidFill>
                <a:latin typeface="Proxima Nova" panose="02000506030000020004" pitchFamily="2" charset="0"/>
                <a:ea typeface="+mn-ea"/>
                <a:cs typeface="+mn-cs"/>
              </a:rPr>
            </a:br>
            <a:r>
              <a:rPr lang="en-IN" sz="2400" b="1" dirty="0">
                <a:solidFill>
                  <a:schemeClr val="bg1"/>
                </a:solidFill>
                <a:latin typeface="Proxima Nova" panose="02000506030000020004" pitchFamily="2" charset="0"/>
                <a:ea typeface="+mn-ea"/>
                <a:cs typeface="+mn-cs"/>
              </a:rPr>
              <a:t>(</a:t>
            </a:r>
            <a:r>
              <a:rPr lang="en-IN" sz="2400" b="1" dirty="0" err="1">
                <a:solidFill>
                  <a:schemeClr val="bg1"/>
                </a:solidFill>
                <a:latin typeface="Proxima Nova" panose="02000506030000020004" pitchFamily="2" charset="0"/>
                <a:ea typeface="+mn-ea"/>
                <a:cs typeface="+mn-cs"/>
              </a:rPr>
              <a:t>Produk</a:t>
            </a:r>
            <a:r>
              <a:rPr lang="en-IN" sz="2400" b="1" dirty="0">
                <a:solidFill>
                  <a:schemeClr val="bg1"/>
                </a:solidFill>
                <a:latin typeface="Proxima Nova" panose="02000506030000020004" pitchFamily="2" charset="0"/>
                <a:ea typeface="+mn-ea"/>
                <a:cs typeface="+mn-cs"/>
              </a:rPr>
              <a:t>, </a:t>
            </a:r>
            <a:r>
              <a:rPr lang="en-IN" sz="2400" b="1" dirty="0" err="1">
                <a:solidFill>
                  <a:schemeClr val="bg1"/>
                </a:solidFill>
                <a:latin typeface="Proxima Nova" panose="02000506030000020004" pitchFamily="2" charset="0"/>
                <a:ea typeface="+mn-ea"/>
                <a:cs typeface="+mn-cs"/>
              </a:rPr>
              <a:t>Layanan</a:t>
            </a:r>
            <a:r>
              <a:rPr lang="en-IN" sz="2400" b="1" dirty="0">
                <a:solidFill>
                  <a:schemeClr val="bg1"/>
                </a:solidFill>
                <a:latin typeface="Proxima Nova" panose="02000506030000020004" pitchFamily="2" charset="0"/>
                <a:ea typeface="+mn-ea"/>
                <a:cs typeface="+mn-cs"/>
              </a:rPr>
              <a:t>, Solusi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FB3FF2C-869F-D546-AB04-2B81604BD971}"/>
              </a:ext>
            </a:extLst>
          </p:cNvPr>
          <p:cNvSpPr/>
          <p:nvPr/>
        </p:nvSpPr>
        <p:spPr>
          <a:xfrm rot="10800000" flipV="1">
            <a:off x="1548384" y="2206752"/>
            <a:ext cx="4706112" cy="397459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87">
              <a:spcAft>
                <a:spcPts val="600"/>
              </a:spcAft>
            </a:pPr>
            <a:endParaRPr lang="en-US" sz="1400" b="1" dirty="0">
              <a:solidFill>
                <a:schemeClr val="bg1"/>
              </a:solidFill>
              <a:latin typeface="Proxima Nova" panose="02000506030000020004" pitchFamily="2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EEB4745-B620-294A-9270-3F1CC2F3B683}"/>
              </a:ext>
            </a:extLst>
          </p:cNvPr>
          <p:cNvSpPr/>
          <p:nvPr/>
        </p:nvSpPr>
        <p:spPr>
          <a:xfrm rot="10800000" flipV="1">
            <a:off x="6370320" y="2206752"/>
            <a:ext cx="4706112" cy="3974592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Proxima Nova" panose="02000506030000020004" pitchFamily="2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5BF9819-E82B-6D43-BB5C-5A0FCA9C1AF1}"/>
              </a:ext>
            </a:extLst>
          </p:cNvPr>
          <p:cNvSpPr/>
          <p:nvPr/>
        </p:nvSpPr>
        <p:spPr>
          <a:xfrm rot="10800000" flipV="1">
            <a:off x="1548384" y="1584960"/>
            <a:ext cx="4706112" cy="51816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87"/>
            <a:r>
              <a:rPr lang="en-US" b="1" dirty="0">
                <a:solidFill>
                  <a:schemeClr val="bg1"/>
                </a:solidFill>
                <a:latin typeface="Proxima Nova" panose="02000506030000020004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LAYANAN PUBLIK</a:t>
            </a:r>
            <a:endParaRPr lang="en-IN" b="1" dirty="0">
              <a:solidFill>
                <a:schemeClr val="bg1"/>
              </a:solidFill>
              <a:latin typeface="Proxima Nova" panose="02000506030000020004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C25B7A3-3C48-E042-A413-E7D8B44EF318}"/>
              </a:ext>
            </a:extLst>
          </p:cNvPr>
          <p:cNvSpPr/>
          <p:nvPr/>
        </p:nvSpPr>
        <p:spPr>
          <a:xfrm rot="10800000" flipV="1">
            <a:off x="6370320" y="1584960"/>
            <a:ext cx="4706112" cy="51816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Proxima Nova" panose="02000506030000020004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t>INDUSTRI UNGGULAN</a:t>
            </a:r>
            <a:endParaRPr lang="en-IN" b="1" dirty="0">
              <a:solidFill>
                <a:schemeClr val="bg1"/>
              </a:solidFill>
              <a:latin typeface="Proxima Nova" panose="02000506030000020004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7174718-E9B9-5540-A9F5-F3B5E1DA7EBA}"/>
              </a:ext>
            </a:extLst>
          </p:cNvPr>
          <p:cNvSpPr/>
          <p:nvPr/>
        </p:nvSpPr>
        <p:spPr>
          <a:xfrm>
            <a:off x="1658111" y="2309786"/>
            <a:ext cx="448665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8987"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  <a:latin typeface="Proxima Nova" panose="0200050603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“</a:t>
            </a:r>
            <a:r>
              <a:rPr lang="en-US" sz="1400" dirty="0" err="1">
                <a:solidFill>
                  <a:schemeClr val="bg1"/>
                </a:solidFill>
                <a:latin typeface="Proxima Nova" panose="0200050603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Mengakselerasi</a:t>
            </a:r>
            <a:r>
              <a:rPr lang="en-US" sz="1400" dirty="0">
                <a:solidFill>
                  <a:schemeClr val="bg1"/>
                </a:solidFill>
                <a:latin typeface="Proxima Nova" panose="0200050603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Proxima Nova" panose="0200050603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tercapainya</a:t>
            </a:r>
            <a:r>
              <a:rPr lang="en-US" sz="1400" dirty="0">
                <a:solidFill>
                  <a:schemeClr val="bg1"/>
                </a:solidFill>
                <a:latin typeface="Proxima Nova" panose="0200050603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Proxima Nova" panose="0200050603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reformasi</a:t>
            </a:r>
            <a:r>
              <a:rPr lang="en-US" sz="1400" dirty="0">
                <a:solidFill>
                  <a:schemeClr val="bg1"/>
                </a:solidFill>
                <a:latin typeface="Proxima Nova" panose="0200050603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Proxima Nova" panose="0200050603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birokrasi</a:t>
            </a:r>
            <a:r>
              <a:rPr lang="en-US" sz="1400" dirty="0">
                <a:solidFill>
                  <a:schemeClr val="bg1"/>
                </a:solidFill>
                <a:latin typeface="Proxima Nova" panose="0200050603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Proxima Nova" panose="0200050603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melalui</a:t>
            </a:r>
            <a:r>
              <a:rPr lang="en-US" sz="1400" dirty="0">
                <a:solidFill>
                  <a:schemeClr val="bg1"/>
                </a:solidFill>
                <a:latin typeface="Proxima Nova" panose="0200050603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Proxima Nova" panose="0200050603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teknologi</a:t>
            </a:r>
            <a:r>
              <a:rPr lang="en-US" sz="1400" dirty="0">
                <a:solidFill>
                  <a:schemeClr val="bg1"/>
                </a:solidFill>
                <a:latin typeface="Proxima Nova" panose="02000506030000020004" pitchFamily="2" charset="0"/>
                <a:ea typeface="Calibri" panose="020F0502020204030204" pitchFamily="34" charset="0"/>
                <a:cs typeface="Arial" panose="020B0604020202020204" pitchFamily="34" charset="0"/>
              </a:rPr>
              <a:t> KA”</a:t>
            </a:r>
            <a:endParaRPr lang="en-US" sz="1400" b="1" dirty="0">
              <a:solidFill>
                <a:schemeClr val="bg1"/>
              </a:solidFill>
              <a:latin typeface="Proxima Nova" panose="02000506030000020004" pitchFamily="2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0E525BD-DA54-EF40-A16C-16A99585FE1D}"/>
              </a:ext>
            </a:extLst>
          </p:cNvPr>
          <p:cNvSpPr txBox="1"/>
          <p:nvPr/>
        </p:nvSpPr>
        <p:spPr>
          <a:xfrm>
            <a:off x="1658111" y="2941320"/>
            <a:ext cx="4462273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987"/>
            <a:r>
              <a:rPr lang="en-US" sz="1400" b="1" dirty="0">
                <a:solidFill>
                  <a:schemeClr val="bg1"/>
                </a:solidFill>
                <a:latin typeface="Proxima Nova" panose="02000506030000020004" pitchFamily="2" charset="0"/>
                <a:ea typeface="Open Sans" panose="020B0606030504020204" pitchFamily="34" charset="0"/>
                <a:cs typeface="Arial" panose="020B0604020202020204" pitchFamily="34" charset="0"/>
              </a:rPr>
              <a:t>ADMINISTRASI PUBLIK</a:t>
            </a:r>
          </a:p>
          <a:p>
            <a:pPr defTabSz="1218987"/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Mendukung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optimalisasi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layanan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administrasi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publik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yang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terpadu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,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cepat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,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tepat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, &amp;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transparan</a:t>
            </a:r>
            <a:endParaRPr lang="en-US" sz="1200" b="1" dirty="0">
              <a:solidFill>
                <a:schemeClr val="bg1"/>
              </a:solidFill>
              <a:latin typeface="Proxima Nova" panose="02000506030000020004" pitchFamily="2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9D851E2-4E66-714C-9F63-15370CE60A09}"/>
              </a:ext>
            </a:extLst>
          </p:cNvPr>
          <p:cNvSpPr txBox="1"/>
          <p:nvPr/>
        </p:nvSpPr>
        <p:spPr>
          <a:xfrm>
            <a:off x="1670302" y="3714991"/>
            <a:ext cx="4462273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987"/>
            <a:r>
              <a:rPr lang="en-US" sz="1400" b="1" dirty="0">
                <a:solidFill>
                  <a:schemeClr val="bg1"/>
                </a:solidFill>
                <a:latin typeface="Proxima Nova" panose="02000506030000020004" pitchFamily="2" charset="0"/>
                <a:ea typeface="Open Sans" panose="020B0606030504020204" pitchFamily="34" charset="0"/>
                <a:cs typeface="Arial" panose="020B0604020202020204" pitchFamily="34" charset="0"/>
              </a:rPr>
              <a:t>KESEHATAN</a:t>
            </a:r>
          </a:p>
          <a:p>
            <a:pPr defTabSz="1218987"/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Meningkatkan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kinerja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pelayanan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kesehatan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publik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yang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efektif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,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proaktif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,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tepat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guna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dan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terjangkau</a:t>
            </a:r>
            <a:endParaRPr lang="en-US" sz="1400" b="1" dirty="0">
              <a:solidFill>
                <a:schemeClr val="bg1"/>
              </a:solidFill>
              <a:latin typeface="Proxima Nova" panose="02000506030000020004" pitchFamily="2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DB2A857-0B20-444C-883D-0CB8AA053CAF}"/>
              </a:ext>
            </a:extLst>
          </p:cNvPr>
          <p:cNvSpPr txBox="1"/>
          <p:nvPr/>
        </p:nvSpPr>
        <p:spPr>
          <a:xfrm>
            <a:off x="1670301" y="4484870"/>
            <a:ext cx="4462273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987"/>
            <a:r>
              <a:rPr lang="en-US" sz="1400" b="1" dirty="0">
                <a:solidFill>
                  <a:prstClr val="white"/>
                </a:solidFill>
                <a:latin typeface="Proxima Nova" panose="02000506030000020004" pitchFamily="2" charset="0"/>
                <a:ea typeface="Open Sans" panose="020B0606030504020204" pitchFamily="34" charset="0"/>
                <a:cs typeface="Arial" panose="020B0604020202020204" pitchFamily="34" charset="0"/>
              </a:rPr>
              <a:t>PENDIDIKAN</a:t>
            </a:r>
          </a:p>
          <a:p>
            <a:pPr defTabSz="1218987"/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Mendukung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peningkatan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taraf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pendidikan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rakyat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dengan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fokus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pembangunan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SDM &amp;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karakter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dan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penguasaan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IPTEK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D2419BC-5187-A148-995F-C31D4DC9C29E}"/>
              </a:ext>
            </a:extLst>
          </p:cNvPr>
          <p:cNvSpPr txBox="1"/>
          <p:nvPr/>
        </p:nvSpPr>
        <p:spPr>
          <a:xfrm>
            <a:off x="1664205" y="5289170"/>
            <a:ext cx="4462273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987"/>
            <a:r>
              <a:rPr lang="en-US" sz="1400" b="1" dirty="0">
                <a:solidFill>
                  <a:schemeClr val="bg1"/>
                </a:solidFill>
                <a:latin typeface="Proxima Nova" panose="02000506030000020004" pitchFamily="2" charset="0"/>
                <a:ea typeface="Open Sans" panose="020B0606030504020204" pitchFamily="34" charset="0"/>
                <a:cs typeface="Arial" panose="020B0604020202020204" pitchFamily="34" charset="0"/>
              </a:rPr>
              <a:t>TRANSPORTASI UMUM</a:t>
            </a:r>
          </a:p>
          <a:p>
            <a:pPr defTabSz="1218987"/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Mewujudkan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layanan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transportasi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publik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secara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terpadu-teritegrasi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yang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handal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,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aman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,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nyaman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,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tersedia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, dan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terjangkau</a:t>
            </a:r>
            <a:endParaRPr lang="en-IN" sz="1200" kern="0" dirty="0">
              <a:solidFill>
                <a:schemeClr val="bg1"/>
              </a:solidFill>
              <a:latin typeface="Proxima Nova" panose="02000506030000020004" pitchFamily="2" charset="0"/>
              <a:cs typeface="Arial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5700227-0C1B-F442-89E2-41FF101874A4}"/>
              </a:ext>
            </a:extLst>
          </p:cNvPr>
          <p:cNvSpPr txBox="1"/>
          <p:nvPr/>
        </p:nvSpPr>
        <p:spPr>
          <a:xfrm>
            <a:off x="6480047" y="2325624"/>
            <a:ext cx="4462273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987"/>
            <a:r>
              <a:rPr lang="en-US" sz="1400" b="1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AGRO-MARITIM</a:t>
            </a:r>
          </a:p>
          <a:p>
            <a:pPr defTabSz="1218987"/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Mendukung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industri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pangan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sebagai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Powerhouse di Kawasan Regional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1D73EB4-77E8-A64C-8034-FEB1E95B3682}"/>
              </a:ext>
            </a:extLst>
          </p:cNvPr>
          <p:cNvSpPr txBox="1"/>
          <p:nvPr/>
        </p:nvSpPr>
        <p:spPr>
          <a:xfrm>
            <a:off x="6492238" y="3087103"/>
            <a:ext cx="4462273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987"/>
            <a:r>
              <a:rPr lang="en-US" sz="1400" b="1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ENERGI &amp; UTILITAS</a:t>
            </a:r>
          </a:p>
          <a:p>
            <a:pPr defTabSz="1218987"/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Membangun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Ketahanan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&amp;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Keamanan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Energi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dan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Utilitas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Nasiona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30C3B7D-6684-3041-AF84-E4B58CA644BE}"/>
              </a:ext>
            </a:extLst>
          </p:cNvPr>
          <p:cNvSpPr txBox="1"/>
          <p:nvPr/>
        </p:nvSpPr>
        <p:spPr>
          <a:xfrm>
            <a:off x="6492237" y="3820406"/>
            <a:ext cx="4462273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987"/>
            <a:r>
              <a:rPr lang="en-US" sz="1400" b="1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RANTAI PASOK</a:t>
            </a:r>
          </a:p>
          <a:p>
            <a:pPr defTabSz="1218987"/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Membangun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Infrastruktur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Logistik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yang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efisien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di era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ekonomi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digital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722C933-48E9-304B-B903-86272E93D6E4}"/>
              </a:ext>
            </a:extLst>
          </p:cNvPr>
          <p:cNvSpPr txBox="1"/>
          <p:nvPr/>
        </p:nvSpPr>
        <p:spPr>
          <a:xfrm>
            <a:off x="6486141" y="4636898"/>
            <a:ext cx="446227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987"/>
            <a:r>
              <a:rPr lang="en-US" sz="1400" b="1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KEUANGAN &amp; RITEL</a:t>
            </a:r>
          </a:p>
          <a:p>
            <a:pPr defTabSz="1218987"/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Mendukung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Inklusi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Ekonomi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dan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Inklusi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Keuangan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- UMKM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8640BC0-2AC2-BD4C-98D5-6EB0F5DDECE0}"/>
              </a:ext>
            </a:extLst>
          </p:cNvPr>
          <p:cNvSpPr txBox="1"/>
          <p:nvPr/>
        </p:nvSpPr>
        <p:spPr>
          <a:xfrm>
            <a:off x="6492237" y="5289170"/>
            <a:ext cx="4462273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987"/>
            <a:r>
              <a:rPr lang="en-US" sz="1400" b="1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PERTAHANAN &amp; KEAMANAN</a:t>
            </a:r>
          </a:p>
          <a:p>
            <a:pPr defTabSz="1218987"/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Postur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Hankam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khususnya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menghadapi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Perang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Siber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serta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Penyelenggaraan</a:t>
            </a:r>
            <a:r>
              <a:rPr lang="en-US" sz="1200" kern="0" dirty="0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 </a:t>
            </a:r>
            <a:r>
              <a:rPr lang="en-US" sz="1200" kern="0" dirty="0" err="1">
                <a:solidFill>
                  <a:schemeClr val="bg1"/>
                </a:solidFill>
                <a:latin typeface="Proxima Nova" panose="02000506030000020004" pitchFamily="2" charset="0"/>
                <a:cs typeface="Arial" pitchFamily="34" charset="0"/>
              </a:rPr>
              <a:t>Kamtibnas</a:t>
            </a:r>
            <a:endParaRPr lang="en-IN" sz="1200" kern="0" dirty="0">
              <a:solidFill>
                <a:schemeClr val="bg1"/>
              </a:solidFill>
              <a:latin typeface="Proxima Nova" panose="02000506030000020004" pitchFamily="2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09601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Title 1">
            <a:extLst>
              <a:ext uri="{FF2B5EF4-FFF2-40B4-BE49-F238E27FC236}">
                <a16:creationId xmlns:a16="http://schemas.microsoft.com/office/drawing/2014/main" id="{19B6A252-F322-4220-BEC7-9231761EED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224" y="249533"/>
            <a:ext cx="11472646" cy="553998"/>
          </a:xfrm>
        </p:spPr>
        <p:txBody>
          <a:bodyPr>
            <a:normAutofit/>
          </a:bodyPr>
          <a:lstStyle/>
          <a:p>
            <a:pPr algn="ctr"/>
            <a:r>
              <a:rPr lang="en-IN" b="1" dirty="0">
                <a:solidFill>
                  <a:schemeClr val="bg1"/>
                </a:solidFill>
                <a:latin typeface="Proxima Nova" panose="02000506030000020004" pitchFamily="2" charset="0"/>
                <a:ea typeface="+mn-ea"/>
                <a:cs typeface="+mn-cs"/>
              </a:rPr>
              <a:t>TEKNOLOGI KECERDASAN ARTIFISI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654AFF7-9040-FA4E-BEA7-897842748370}"/>
              </a:ext>
            </a:extLst>
          </p:cNvPr>
          <p:cNvSpPr/>
          <p:nvPr/>
        </p:nvSpPr>
        <p:spPr>
          <a:xfrm>
            <a:off x="4474464" y="1987296"/>
            <a:ext cx="5591363" cy="56083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b="1" dirty="0">
                <a:latin typeface="Proxima Nova" panose="02000506030000020004" pitchFamily="2" charset="0"/>
              </a:rPr>
              <a:t>1. Big Data, IoT, Cyber-Physical Systems</a:t>
            </a:r>
            <a:endParaRPr lang="en-GB" dirty="0">
              <a:latin typeface="Proxima Nova" panose="02000506030000020004" pitchFamily="2" charset="0"/>
              <a:cs typeface="Arial" panose="020B0604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3B2436E-4327-784B-AB3D-93FA49A9E430}"/>
              </a:ext>
            </a:extLst>
          </p:cNvPr>
          <p:cNvSpPr/>
          <p:nvPr/>
        </p:nvSpPr>
        <p:spPr>
          <a:xfrm>
            <a:off x="4474464" y="2620500"/>
            <a:ext cx="5591363" cy="56083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>
                <a:latin typeface="Proxima Nova" panose="02000506030000020004" pitchFamily="2" charset="0"/>
              </a:rPr>
              <a:t>2. Machine Learning &amp; Deep Learning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7676FF1-04E5-9248-A4B1-DB597A0722C9}"/>
              </a:ext>
            </a:extLst>
          </p:cNvPr>
          <p:cNvSpPr/>
          <p:nvPr/>
        </p:nvSpPr>
        <p:spPr>
          <a:xfrm>
            <a:off x="4474464" y="3247399"/>
            <a:ext cx="5591363" cy="56083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b="1" dirty="0">
                <a:latin typeface="Proxima Nova" panose="02000506030000020004" pitchFamily="2" charset="0"/>
              </a:rPr>
              <a:t>3. Probabilistic Model &amp; Reasoning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D66F285-BA89-3D46-9187-01A2A1644105}"/>
              </a:ext>
            </a:extLst>
          </p:cNvPr>
          <p:cNvSpPr/>
          <p:nvPr/>
        </p:nvSpPr>
        <p:spPr>
          <a:xfrm>
            <a:off x="4474464" y="3874298"/>
            <a:ext cx="5591363" cy="56083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b="1" dirty="0">
                <a:latin typeface="Proxima Nova" panose="02000506030000020004" pitchFamily="2" charset="0"/>
              </a:rPr>
              <a:t>4. AI Hardware, AI on </a:t>
            </a:r>
            <a:r>
              <a:rPr lang="it-IT" b="1" dirty="0" err="1">
                <a:latin typeface="Proxima Nova" panose="02000506030000020004" pitchFamily="2" charset="0"/>
              </a:rPr>
              <a:t>Edge</a:t>
            </a:r>
            <a:r>
              <a:rPr lang="it-IT" b="1" dirty="0">
                <a:latin typeface="Proxima Nova" panose="02000506030000020004" pitchFamily="2" charset="0"/>
              </a:rPr>
              <a:t>, AI Software Tool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90732E-EA69-1347-A85F-DC599B9AACC5}"/>
              </a:ext>
            </a:extLst>
          </p:cNvPr>
          <p:cNvSpPr/>
          <p:nvPr/>
        </p:nvSpPr>
        <p:spPr>
          <a:xfrm>
            <a:off x="4474464" y="4501197"/>
            <a:ext cx="5591363" cy="560832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>
              <a:spcBef>
                <a:spcPts val="655"/>
              </a:spcBef>
            </a:pPr>
            <a:r>
              <a:rPr lang="en-GB" b="1" dirty="0">
                <a:solidFill>
                  <a:schemeClr val="bg1"/>
                </a:solidFill>
                <a:latin typeface="Proxima Nova" panose="02000506030000020004" pitchFamily="2" charset="0"/>
              </a:rPr>
              <a:t>5. Trustworthy AI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2300A44-C4EB-6248-9F4C-C8AD952383B4}"/>
              </a:ext>
            </a:extLst>
          </p:cNvPr>
          <p:cNvSpPr/>
          <p:nvPr/>
        </p:nvSpPr>
        <p:spPr>
          <a:xfrm>
            <a:off x="4474464" y="5128096"/>
            <a:ext cx="5591363" cy="560832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>
                <a:solidFill>
                  <a:schemeClr val="bg1"/>
                </a:solidFill>
                <a:latin typeface="Proxima Nova" panose="02000506030000020004" pitchFamily="2" charset="0"/>
              </a:rPr>
              <a:t>6. Multi Agent Systems, Distributed AI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7F3C803-583C-F14A-83C9-14FDA92CC87B}"/>
              </a:ext>
            </a:extLst>
          </p:cNvPr>
          <p:cNvSpPr/>
          <p:nvPr/>
        </p:nvSpPr>
        <p:spPr>
          <a:xfrm>
            <a:off x="4474464" y="5754995"/>
            <a:ext cx="5591363" cy="560832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>
                <a:solidFill>
                  <a:schemeClr val="bg1"/>
                </a:solidFill>
                <a:latin typeface="Proxima Nova" panose="02000506030000020004" pitchFamily="2" charset="0"/>
              </a:rPr>
              <a:t>7. Artificial General Intelligence, Human-like AI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2D6977E-2B65-364C-9E72-4F1CE2CDF6AA}"/>
              </a:ext>
            </a:extLst>
          </p:cNvPr>
          <p:cNvGrpSpPr/>
          <p:nvPr/>
        </p:nvGrpSpPr>
        <p:grpSpPr>
          <a:xfrm>
            <a:off x="1170432" y="2580893"/>
            <a:ext cx="3040575" cy="2771395"/>
            <a:chOff x="3582988" y="1584326"/>
            <a:chExt cx="5022850" cy="4467224"/>
          </a:xfrm>
        </p:grpSpPr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9B19CC34-2797-1749-BFD0-5B8EAF39D3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2988" y="1624013"/>
              <a:ext cx="2481263" cy="4427537"/>
            </a:xfrm>
            <a:custGeom>
              <a:avLst/>
              <a:gdLst>
                <a:gd name="T0" fmla="*/ 856 w 910"/>
                <a:gd name="T1" fmla="*/ 81 h 1624"/>
                <a:gd name="T2" fmla="*/ 812 w 910"/>
                <a:gd name="T3" fmla="*/ 26 h 1624"/>
                <a:gd name="T4" fmla="*/ 687 w 910"/>
                <a:gd name="T5" fmla="*/ 9 h 1624"/>
                <a:gd name="T6" fmla="*/ 616 w 910"/>
                <a:gd name="T7" fmla="*/ 35 h 1624"/>
                <a:gd name="T8" fmla="*/ 578 w 910"/>
                <a:gd name="T9" fmla="*/ 52 h 1624"/>
                <a:gd name="T10" fmla="*/ 528 w 910"/>
                <a:gd name="T11" fmla="*/ 76 h 1624"/>
                <a:gd name="T12" fmla="*/ 515 w 910"/>
                <a:gd name="T13" fmla="*/ 88 h 1624"/>
                <a:gd name="T14" fmla="*/ 481 w 910"/>
                <a:gd name="T15" fmla="*/ 88 h 1624"/>
                <a:gd name="T16" fmla="*/ 356 w 910"/>
                <a:gd name="T17" fmla="*/ 154 h 1624"/>
                <a:gd name="T18" fmla="*/ 245 w 910"/>
                <a:gd name="T19" fmla="*/ 226 h 1624"/>
                <a:gd name="T20" fmla="*/ 193 w 910"/>
                <a:gd name="T21" fmla="*/ 348 h 1624"/>
                <a:gd name="T22" fmla="*/ 136 w 910"/>
                <a:gd name="T23" fmla="*/ 439 h 1624"/>
                <a:gd name="T24" fmla="*/ 123 w 910"/>
                <a:gd name="T25" fmla="*/ 545 h 1624"/>
                <a:gd name="T26" fmla="*/ 88 w 910"/>
                <a:gd name="T27" fmla="*/ 589 h 1624"/>
                <a:gd name="T28" fmla="*/ 73 w 910"/>
                <a:gd name="T29" fmla="*/ 674 h 1624"/>
                <a:gd name="T30" fmla="*/ 24 w 910"/>
                <a:gd name="T31" fmla="*/ 767 h 1624"/>
                <a:gd name="T32" fmla="*/ 37 w 910"/>
                <a:gd name="T33" fmla="*/ 880 h 1624"/>
                <a:gd name="T34" fmla="*/ 41 w 910"/>
                <a:gd name="T35" fmla="*/ 989 h 1624"/>
                <a:gd name="T36" fmla="*/ 75 w 910"/>
                <a:gd name="T37" fmla="*/ 1129 h 1624"/>
                <a:gd name="T38" fmla="*/ 123 w 910"/>
                <a:gd name="T39" fmla="*/ 1218 h 1624"/>
                <a:gd name="T40" fmla="*/ 187 w 910"/>
                <a:gd name="T41" fmla="*/ 1311 h 1624"/>
                <a:gd name="T42" fmla="*/ 246 w 910"/>
                <a:gd name="T43" fmla="*/ 1407 h 1624"/>
                <a:gd name="T44" fmla="*/ 373 w 910"/>
                <a:gd name="T45" fmla="*/ 1491 h 1624"/>
                <a:gd name="T46" fmla="*/ 470 w 910"/>
                <a:gd name="T47" fmla="*/ 1567 h 1624"/>
                <a:gd name="T48" fmla="*/ 620 w 910"/>
                <a:gd name="T49" fmla="*/ 1605 h 1624"/>
                <a:gd name="T50" fmla="*/ 757 w 910"/>
                <a:gd name="T51" fmla="*/ 1617 h 1624"/>
                <a:gd name="T52" fmla="*/ 882 w 910"/>
                <a:gd name="T53" fmla="*/ 1446 h 1624"/>
                <a:gd name="T54" fmla="*/ 903 w 910"/>
                <a:gd name="T55" fmla="*/ 1258 h 1624"/>
                <a:gd name="T56" fmla="*/ 888 w 910"/>
                <a:gd name="T57" fmla="*/ 1124 h 1624"/>
                <a:gd name="T58" fmla="*/ 894 w 910"/>
                <a:gd name="T59" fmla="*/ 950 h 1624"/>
                <a:gd name="T60" fmla="*/ 894 w 910"/>
                <a:gd name="T61" fmla="*/ 804 h 1624"/>
                <a:gd name="T62" fmla="*/ 885 w 910"/>
                <a:gd name="T63" fmla="*/ 663 h 1624"/>
                <a:gd name="T64" fmla="*/ 888 w 910"/>
                <a:gd name="T65" fmla="*/ 523 h 1624"/>
                <a:gd name="T66" fmla="*/ 903 w 910"/>
                <a:gd name="T67" fmla="*/ 429 h 1624"/>
                <a:gd name="T68" fmla="*/ 881 w 910"/>
                <a:gd name="T69" fmla="*/ 344 h 1624"/>
                <a:gd name="T70" fmla="*/ 871 w 910"/>
                <a:gd name="T71" fmla="*/ 200 h 1624"/>
                <a:gd name="T72" fmla="*/ 866 w 910"/>
                <a:gd name="T73" fmla="*/ 146 h 1624"/>
                <a:gd name="T74" fmla="*/ 856 w 910"/>
                <a:gd name="T75" fmla="*/ 81 h 1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10" h="1624">
                  <a:moveTo>
                    <a:pt x="856" y="81"/>
                  </a:moveTo>
                  <a:cubicBezTo>
                    <a:pt x="847" y="59"/>
                    <a:pt x="833" y="39"/>
                    <a:pt x="812" y="26"/>
                  </a:cubicBezTo>
                  <a:cubicBezTo>
                    <a:pt x="778" y="3"/>
                    <a:pt x="727" y="0"/>
                    <a:pt x="687" y="9"/>
                  </a:cubicBezTo>
                  <a:cubicBezTo>
                    <a:pt x="664" y="15"/>
                    <a:pt x="638" y="24"/>
                    <a:pt x="616" y="35"/>
                  </a:cubicBezTo>
                  <a:cubicBezTo>
                    <a:pt x="603" y="41"/>
                    <a:pt x="592" y="48"/>
                    <a:pt x="578" y="52"/>
                  </a:cubicBezTo>
                  <a:cubicBezTo>
                    <a:pt x="559" y="58"/>
                    <a:pt x="542" y="62"/>
                    <a:pt x="528" y="76"/>
                  </a:cubicBezTo>
                  <a:cubicBezTo>
                    <a:pt x="524" y="80"/>
                    <a:pt x="520" y="85"/>
                    <a:pt x="515" y="88"/>
                  </a:cubicBezTo>
                  <a:cubicBezTo>
                    <a:pt x="506" y="93"/>
                    <a:pt x="491" y="89"/>
                    <a:pt x="481" y="88"/>
                  </a:cubicBezTo>
                  <a:cubicBezTo>
                    <a:pt x="442" y="87"/>
                    <a:pt x="380" y="88"/>
                    <a:pt x="356" y="154"/>
                  </a:cubicBezTo>
                  <a:cubicBezTo>
                    <a:pt x="338" y="205"/>
                    <a:pt x="279" y="201"/>
                    <a:pt x="245" y="226"/>
                  </a:cubicBezTo>
                  <a:cubicBezTo>
                    <a:pt x="211" y="252"/>
                    <a:pt x="182" y="288"/>
                    <a:pt x="193" y="348"/>
                  </a:cubicBezTo>
                  <a:cubicBezTo>
                    <a:pt x="203" y="407"/>
                    <a:pt x="164" y="392"/>
                    <a:pt x="136" y="439"/>
                  </a:cubicBezTo>
                  <a:cubicBezTo>
                    <a:pt x="108" y="486"/>
                    <a:pt x="118" y="522"/>
                    <a:pt x="123" y="545"/>
                  </a:cubicBezTo>
                  <a:cubicBezTo>
                    <a:pt x="129" y="568"/>
                    <a:pt x="100" y="569"/>
                    <a:pt x="88" y="589"/>
                  </a:cubicBezTo>
                  <a:cubicBezTo>
                    <a:pt x="75" y="609"/>
                    <a:pt x="54" y="630"/>
                    <a:pt x="73" y="674"/>
                  </a:cubicBezTo>
                  <a:cubicBezTo>
                    <a:pt x="92" y="718"/>
                    <a:pt x="42" y="718"/>
                    <a:pt x="24" y="767"/>
                  </a:cubicBezTo>
                  <a:cubicBezTo>
                    <a:pt x="0" y="830"/>
                    <a:pt x="21" y="860"/>
                    <a:pt x="37" y="880"/>
                  </a:cubicBezTo>
                  <a:cubicBezTo>
                    <a:pt x="54" y="899"/>
                    <a:pt x="73" y="953"/>
                    <a:pt x="41" y="989"/>
                  </a:cubicBezTo>
                  <a:cubicBezTo>
                    <a:pt x="12" y="1021"/>
                    <a:pt x="17" y="1104"/>
                    <a:pt x="75" y="1129"/>
                  </a:cubicBezTo>
                  <a:cubicBezTo>
                    <a:pt x="118" y="1147"/>
                    <a:pt x="129" y="1192"/>
                    <a:pt x="123" y="1218"/>
                  </a:cubicBezTo>
                  <a:cubicBezTo>
                    <a:pt x="115" y="1253"/>
                    <a:pt x="142" y="1292"/>
                    <a:pt x="187" y="1311"/>
                  </a:cubicBezTo>
                  <a:cubicBezTo>
                    <a:pt x="248" y="1336"/>
                    <a:pt x="232" y="1373"/>
                    <a:pt x="246" y="1407"/>
                  </a:cubicBezTo>
                  <a:cubicBezTo>
                    <a:pt x="261" y="1442"/>
                    <a:pt x="300" y="1487"/>
                    <a:pt x="373" y="1491"/>
                  </a:cubicBezTo>
                  <a:cubicBezTo>
                    <a:pt x="451" y="1494"/>
                    <a:pt x="445" y="1543"/>
                    <a:pt x="470" y="1567"/>
                  </a:cubicBezTo>
                  <a:cubicBezTo>
                    <a:pt x="486" y="1584"/>
                    <a:pt x="518" y="1624"/>
                    <a:pt x="620" y="1605"/>
                  </a:cubicBezTo>
                  <a:cubicBezTo>
                    <a:pt x="678" y="1595"/>
                    <a:pt x="714" y="1620"/>
                    <a:pt x="757" y="1617"/>
                  </a:cubicBezTo>
                  <a:cubicBezTo>
                    <a:pt x="812" y="1614"/>
                    <a:pt x="909" y="1579"/>
                    <a:pt x="882" y="1446"/>
                  </a:cubicBezTo>
                  <a:cubicBezTo>
                    <a:pt x="855" y="1314"/>
                    <a:pt x="898" y="1308"/>
                    <a:pt x="903" y="1258"/>
                  </a:cubicBezTo>
                  <a:cubicBezTo>
                    <a:pt x="908" y="1207"/>
                    <a:pt x="887" y="1160"/>
                    <a:pt x="888" y="1124"/>
                  </a:cubicBezTo>
                  <a:cubicBezTo>
                    <a:pt x="890" y="1089"/>
                    <a:pt x="910" y="1021"/>
                    <a:pt x="894" y="950"/>
                  </a:cubicBezTo>
                  <a:cubicBezTo>
                    <a:pt x="878" y="879"/>
                    <a:pt x="888" y="843"/>
                    <a:pt x="894" y="804"/>
                  </a:cubicBezTo>
                  <a:cubicBezTo>
                    <a:pt x="899" y="765"/>
                    <a:pt x="868" y="710"/>
                    <a:pt x="885" y="663"/>
                  </a:cubicBezTo>
                  <a:cubicBezTo>
                    <a:pt x="908" y="598"/>
                    <a:pt x="894" y="567"/>
                    <a:pt x="888" y="523"/>
                  </a:cubicBezTo>
                  <a:cubicBezTo>
                    <a:pt x="886" y="502"/>
                    <a:pt x="905" y="465"/>
                    <a:pt x="903" y="429"/>
                  </a:cubicBezTo>
                  <a:cubicBezTo>
                    <a:pt x="901" y="395"/>
                    <a:pt x="873" y="360"/>
                    <a:pt x="881" y="344"/>
                  </a:cubicBezTo>
                  <a:cubicBezTo>
                    <a:pt x="901" y="303"/>
                    <a:pt x="899" y="235"/>
                    <a:pt x="871" y="200"/>
                  </a:cubicBezTo>
                  <a:cubicBezTo>
                    <a:pt x="859" y="185"/>
                    <a:pt x="865" y="164"/>
                    <a:pt x="866" y="146"/>
                  </a:cubicBezTo>
                  <a:cubicBezTo>
                    <a:pt x="867" y="124"/>
                    <a:pt x="864" y="101"/>
                    <a:pt x="856" y="8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1918D817-8E44-0040-B556-CA93A947CC8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4575" y="1584326"/>
              <a:ext cx="2481263" cy="4467224"/>
            </a:xfrm>
            <a:custGeom>
              <a:avLst/>
              <a:gdLst>
                <a:gd name="T0" fmla="*/ 47 w 910"/>
                <a:gd name="T1" fmla="*/ 77 h 1639"/>
                <a:gd name="T2" fmla="*/ 57 w 910"/>
                <a:gd name="T3" fmla="*/ 61 h 1639"/>
                <a:gd name="T4" fmla="*/ 262 w 910"/>
                <a:gd name="T5" fmla="*/ 36 h 1639"/>
                <a:gd name="T6" fmla="*/ 316 w 910"/>
                <a:gd name="T7" fmla="*/ 61 h 1639"/>
                <a:gd name="T8" fmla="*/ 358 w 910"/>
                <a:gd name="T9" fmla="*/ 77 h 1639"/>
                <a:gd name="T10" fmla="*/ 395 w 910"/>
                <a:gd name="T11" fmla="*/ 103 h 1639"/>
                <a:gd name="T12" fmla="*/ 484 w 910"/>
                <a:gd name="T13" fmla="*/ 107 h 1639"/>
                <a:gd name="T14" fmla="*/ 554 w 910"/>
                <a:gd name="T15" fmla="*/ 169 h 1639"/>
                <a:gd name="T16" fmla="*/ 665 w 910"/>
                <a:gd name="T17" fmla="*/ 241 h 1639"/>
                <a:gd name="T18" fmla="*/ 717 w 910"/>
                <a:gd name="T19" fmla="*/ 363 h 1639"/>
                <a:gd name="T20" fmla="*/ 774 w 910"/>
                <a:gd name="T21" fmla="*/ 454 h 1639"/>
                <a:gd name="T22" fmla="*/ 787 w 910"/>
                <a:gd name="T23" fmla="*/ 560 h 1639"/>
                <a:gd name="T24" fmla="*/ 822 w 910"/>
                <a:gd name="T25" fmla="*/ 604 h 1639"/>
                <a:gd name="T26" fmla="*/ 837 w 910"/>
                <a:gd name="T27" fmla="*/ 689 h 1639"/>
                <a:gd name="T28" fmla="*/ 886 w 910"/>
                <a:gd name="T29" fmla="*/ 782 h 1639"/>
                <a:gd name="T30" fmla="*/ 873 w 910"/>
                <a:gd name="T31" fmla="*/ 895 h 1639"/>
                <a:gd name="T32" fmla="*/ 869 w 910"/>
                <a:gd name="T33" fmla="*/ 1004 h 1639"/>
                <a:gd name="T34" fmla="*/ 835 w 910"/>
                <a:gd name="T35" fmla="*/ 1144 h 1639"/>
                <a:gd name="T36" fmla="*/ 787 w 910"/>
                <a:gd name="T37" fmla="*/ 1233 h 1639"/>
                <a:gd name="T38" fmla="*/ 723 w 910"/>
                <a:gd name="T39" fmla="*/ 1326 h 1639"/>
                <a:gd name="T40" fmla="*/ 664 w 910"/>
                <a:gd name="T41" fmla="*/ 1422 h 1639"/>
                <a:gd name="T42" fmla="*/ 537 w 910"/>
                <a:gd name="T43" fmla="*/ 1506 h 1639"/>
                <a:gd name="T44" fmla="*/ 440 w 910"/>
                <a:gd name="T45" fmla="*/ 1582 h 1639"/>
                <a:gd name="T46" fmla="*/ 290 w 910"/>
                <a:gd name="T47" fmla="*/ 1620 h 1639"/>
                <a:gd name="T48" fmla="*/ 153 w 910"/>
                <a:gd name="T49" fmla="*/ 1632 h 1639"/>
                <a:gd name="T50" fmla="*/ 28 w 910"/>
                <a:gd name="T51" fmla="*/ 1461 h 1639"/>
                <a:gd name="T52" fmla="*/ 7 w 910"/>
                <a:gd name="T53" fmla="*/ 1273 h 1639"/>
                <a:gd name="T54" fmla="*/ 21 w 910"/>
                <a:gd name="T55" fmla="*/ 1139 h 1639"/>
                <a:gd name="T56" fmla="*/ 16 w 910"/>
                <a:gd name="T57" fmla="*/ 965 h 1639"/>
                <a:gd name="T58" fmla="*/ 16 w 910"/>
                <a:gd name="T59" fmla="*/ 819 h 1639"/>
                <a:gd name="T60" fmla="*/ 25 w 910"/>
                <a:gd name="T61" fmla="*/ 678 h 1639"/>
                <a:gd name="T62" fmla="*/ 21 w 910"/>
                <a:gd name="T63" fmla="*/ 538 h 1639"/>
                <a:gd name="T64" fmla="*/ 7 w 910"/>
                <a:gd name="T65" fmla="*/ 444 h 1639"/>
                <a:gd name="T66" fmla="*/ 29 w 910"/>
                <a:gd name="T67" fmla="*/ 359 h 1639"/>
                <a:gd name="T68" fmla="*/ 39 w 910"/>
                <a:gd name="T69" fmla="*/ 215 h 1639"/>
                <a:gd name="T70" fmla="*/ 41 w 910"/>
                <a:gd name="T71" fmla="*/ 171 h 1639"/>
                <a:gd name="T72" fmla="*/ 47 w 910"/>
                <a:gd name="T73" fmla="*/ 77 h 1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10" h="1639">
                  <a:moveTo>
                    <a:pt x="47" y="77"/>
                  </a:moveTo>
                  <a:cubicBezTo>
                    <a:pt x="49" y="71"/>
                    <a:pt x="53" y="65"/>
                    <a:pt x="57" y="61"/>
                  </a:cubicBezTo>
                  <a:cubicBezTo>
                    <a:pt x="108" y="0"/>
                    <a:pt x="196" y="12"/>
                    <a:pt x="262" y="36"/>
                  </a:cubicBezTo>
                  <a:cubicBezTo>
                    <a:pt x="280" y="43"/>
                    <a:pt x="298" y="53"/>
                    <a:pt x="316" y="61"/>
                  </a:cubicBezTo>
                  <a:cubicBezTo>
                    <a:pt x="330" y="67"/>
                    <a:pt x="344" y="71"/>
                    <a:pt x="358" y="77"/>
                  </a:cubicBezTo>
                  <a:cubicBezTo>
                    <a:pt x="372" y="84"/>
                    <a:pt x="382" y="95"/>
                    <a:pt x="395" y="103"/>
                  </a:cubicBezTo>
                  <a:cubicBezTo>
                    <a:pt x="420" y="118"/>
                    <a:pt x="456" y="98"/>
                    <a:pt x="484" y="107"/>
                  </a:cubicBezTo>
                  <a:cubicBezTo>
                    <a:pt x="516" y="117"/>
                    <a:pt x="538" y="140"/>
                    <a:pt x="554" y="169"/>
                  </a:cubicBezTo>
                  <a:cubicBezTo>
                    <a:pt x="580" y="216"/>
                    <a:pt x="631" y="216"/>
                    <a:pt x="665" y="241"/>
                  </a:cubicBezTo>
                  <a:cubicBezTo>
                    <a:pt x="699" y="267"/>
                    <a:pt x="728" y="303"/>
                    <a:pt x="717" y="363"/>
                  </a:cubicBezTo>
                  <a:cubicBezTo>
                    <a:pt x="706" y="422"/>
                    <a:pt x="746" y="407"/>
                    <a:pt x="774" y="454"/>
                  </a:cubicBezTo>
                  <a:cubicBezTo>
                    <a:pt x="802" y="501"/>
                    <a:pt x="792" y="537"/>
                    <a:pt x="787" y="560"/>
                  </a:cubicBezTo>
                  <a:cubicBezTo>
                    <a:pt x="781" y="583"/>
                    <a:pt x="810" y="584"/>
                    <a:pt x="822" y="604"/>
                  </a:cubicBezTo>
                  <a:cubicBezTo>
                    <a:pt x="835" y="624"/>
                    <a:pt x="856" y="645"/>
                    <a:pt x="837" y="689"/>
                  </a:cubicBezTo>
                  <a:cubicBezTo>
                    <a:pt x="818" y="733"/>
                    <a:pt x="868" y="733"/>
                    <a:pt x="886" y="782"/>
                  </a:cubicBezTo>
                  <a:cubicBezTo>
                    <a:pt x="910" y="845"/>
                    <a:pt x="889" y="875"/>
                    <a:pt x="873" y="895"/>
                  </a:cubicBezTo>
                  <a:cubicBezTo>
                    <a:pt x="856" y="914"/>
                    <a:pt x="837" y="968"/>
                    <a:pt x="869" y="1004"/>
                  </a:cubicBezTo>
                  <a:cubicBezTo>
                    <a:pt x="898" y="1036"/>
                    <a:pt x="893" y="1119"/>
                    <a:pt x="835" y="1144"/>
                  </a:cubicBezTo>
                  <a:cubicBezTo>
                    <a:pt x="792" y="1162"/>
                    <a:pt x="781" y="1207"/>
                    <a:pt x="787" y="1233"/>
                  </a:cubicBezTo>
                  <a:cubicBezTo>
                    <a:pt x="795" y="1268"/>
                    <a:pt x="768" y="1307"/>
                    <a:pt x="723" y="1326"/>
                  </a:cubicBezTo>
                  <a:cubicBezTo>
                    <a:pt x="662" y="1351"/>
                    <a:pt x="678" y="1388"/>
                    <a:pt x="664" y="1422"/>
                  </a:cubicBezTo>
                  <a:cubicBezTo>
                    <a:pt x="649" y="1457"/>
                    <a:pt x="610" y="1502"/>
                    <a:pt x="537" y="1506"/>
                  </a:cubicBezTo>
                  <a:cubicBezTo>
                    <a:pt x="459" y="1509"/>
                    <a:pt x="465" y="1558"/>
                    <a:pt x="440" y="1582"/>
                  </a:cubicBezTo>
                  <a:cubicBezTo>
                    <a:pt x="424" y="1599"/>
                    <a:pt x="392" y="1639"/>
                    <a:pt x="290" y="1620"/>
                  </a:cubicBezTo>
                  <a:cubicBezTo>
                    <a:pt x="232" y="1610"/>
                    <a:pt x="196" y="1635"/>
                    <a:pt x="153" y="1632"/>
                  </a:cubicBezTo>
                  <a:cubicBezTo>
                    <a:pt x="98" y="1629"/>
                    <a:pt x="0" y="1594"/>
                    <a:pt x="28" y="1461"/>
                  </a:cubicBezTo>
                  <a:cubicBezTo>
                    <a:pt x="55" y="1329"/>
                    <a:pt x="11" y="1323"/>
                    <a:pt x="7" y="1273"/>
                  </a:cubicBezTo>
                  <a:cubicBezTo>
                    <a:pt x="2" y="1222"/>
                    <a:pt x="23" y="1175"/>
                    <a:pt x="21" y="1139"/>
                  </a:cubicBezTo>
                  <a:cubicBezTo>
                    <a:pt x="20" y="1104"/>
                    <a:pt x="0" y="1036"/>
                    <a:pt x="16" y="965"/>
                  </a:cubicBezTo>
                  <a:cubicBezTo>
                    <a:pt x="32" y="894"/>
                    <a:pt x="21" y="858"/>
                    <a:pt x="16" y="819"/>
                  </a:cubicBezTo>
                  <a:cubicBezTo>
                    <a:pt x="10" y="780"/>
                    <a:pt x="42" y="725"/>
                    <a:pt x="25" y="678"/>
                  </a:cubicBezTo>
                  <a:cubicBezTo>
                    <a:pt x="2" y="613"/>
                    <a:pt x="16" y="582"/>
                    <a:pt x="21" y="538"/>
                  </a:cubicBezTo>
                  <a:cubicBezTo>
                    <a:pt x="24" y="517"/>
                    <a:pt x="5" y="480"/>
                    <a:pt x="7" y="444"/>
                  </a:cubicBezTo>
                  <a:cubicBezTo>
                    <a:pt x="9" y="410"/>
                    <a:pt x="37" y="375"/>
                    <a:pt x="29" y="359"/>
                  </a:cubicBezTo>
                  <a:cubicBezTo>
                    <a:pt x="9" y="318"/>
                    <a:pt x="11" y="250"/>
                    <a:pt x="39" y="215"/>
                  </a:cubicBezTo>
                  <a:cubicBezTo>
                    <a:pt x="51" y="200"/>
                    <a:pt x="46" y="188"/>
                    <a:pt x="41" y="171"/>
                  </a:cubicBezTo>
                  <a:cubicBezTo>
                    <a:pt x="33" y="143"/>
                    <a:pt x="33" y="105"/>
                    <a:pt x="47" y="77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A6E92042-96EC-544F-AEF6-347D959D77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2238" y="1867694"/>
              <a:ext cx="1865313" cy="3865562"/>
            </a:xfrm>
            <a:custGeom>
              <a:avLst/>
              <a:gdLst>
                <a:gd name="T0" fmla="*/ 566 w 684"/>
                <a:gd name="T1" fmla="*/ 45 h 1418"/>
                <a:gd name="T2" fmla="*/ 566 w 684"/>
                <a:gd name="T3" fmla="*/ 153 h 1418"/>
                <a:gd name="T4" fmla="*/ 492 w 684"/>
                <a:gd name="T5" fmla="*/ 150 h 1418"/>
                <a:gd name="T6" fmla="*/ 643 w 684"/>
                <a:gd name="T7" fmla="*/ 275 h 1418"/>
                <a:gd name="T8" fmla="*/ 428 w 684"/>
                <a:gd name="T9" fmla="*/ 119 h 1418"/>
                <a:gd name="T10" fmla="*/ 447 w 684"/>
                <a:gd name="T11" fmla="*/ 278 h 1418"/>
                <a:gd name="T12" fmla="*/ 497 w 684"/>
                <a:gd name="T13" fmla="*/ 290 h 1418"/>
                <a:gd name="T14" fmla="*/ 226 w 684"/>
                <a:gd name="T15" fmla="*/ 245 h 1418"/>
                <a:gd name="T16" fmla="*/ 325 w 684"/>
                <a:gd name="T17" fmla="*/ 302 h 1418"/>
                <a:gd name="T18" fmla="*/ 431 w 684"/>
                <a:gd name="T19" fmla="*/ 354 h 1418"/>
                <a:gd name="T20" fmla="*/ 560 w 684"/>
                <a:gd name="T21" fmla="*/ 619 h 1418"/>
                <a:gd name="T22" fmla="*/ 490 w 684"/>
                <a:gd name="T23" fmla="*/ 613 h 1418"/>
                <a:gd name="T24" fmla="*/ 316 w 684"/>
                <a:gd name="T25" fmla="*/ 399 h 1418"/>
                <a:gd name="T26" fmla="*/ 59 w 684"/>
                <a:gd name="T27" fmla="*/ 419 h 1418"/>
                <a:gd name="T28" fmla="*/ 143 w 684"/>
                <a:gd name="T29" fmla="*/ 509 h 1418"/>
                <a:gd name="T30" fmla="*/ 334 w 684"/>
                <a:gd name="T31" fmla="*/ 545 h 1418"/>
                <a:gd name="T32" fmla="*/ 671 w 684"/>
                <a:gd name="T33" fmla="*/ 765 h 1418"/>
                <a:gd name="T34" fmla="*/ 138 w 684"/>
                <a:gd name="T35" fmla="*/ 578 h 1418"/>
                <a:gd name="T36" fmla="*/ 99 w 684"/>
                <a:gd name="T37" fmla="*/ 700 h 1418"/>
                <a:gd name="T38" fmla="*/ 43 w 684"/>
                <a:gd name="T39" fmla="*/ 742 h 1418"/>
                <a:gd name="T40" fmla="*/ 206 w 684"/>
                <a:gd name="T41" fmla="*/ 781 h 1418"/>
                <a:gd name="T42" fmla="*/ 482 w 684"/>
                <a:gd name="T43" fmla="*/ 843 h 1418"/>
                <a:gd name="T44" fmla="*/ 285 w 684"/>
                <a:gd name="T45" fmla="*/ 867 h 1418"/>
                <a:gd name="T46" fmla="*/ 76 w 684"/>
                <a:gd name="T47" fmla="*/ 972 h 1418"/>
                <a:gd name="T48" fmla="*/ 99 w 684"/>
                <a:gd name="T49" fmla="*/ 1038 h 1418"/>
                <a:gd name="T50" fmla="*/ 121 w 684"/>
                <a:gd name="T51" fmla="*/ 1103 h 1418"/>
                <a:gd name="T52" fmla="*/ 244 w 684"/>
                <a:gd name="T53" fmla="*/ 1153 h 1418"/>
                <a:gd name="T54" fmla="*/ 411 w 684"/>
                <a:gd name="T55" fmla="*/ 924 h 1418"/>
                <a:gd name="T56" fmla="*/ 423 w 684"/>
                <a:gd name="T57" fmla="*/ 1065 h 1418"/>
                <a:gd name="T58" fmla="*/ 538 w 684"/>
                <a:gd name="T59" fmla="*/ 1017 h 1418"/>
                <a:gd name="T60" fmla="*/ 551 w 684"/>
                <a:gd name="T61" fmla="*/ 964 h 1418"/>
                <a:gd name="T62" fmla="*/ 551 w 684"/>
                <a:gd name="T63" fmla="*/ 947 h 1418"/>
                <a:gd name="T64" fmla="*/ 589 w 684"/>
                <a:gd name="T65" fmla="*/ 946 h 1418"/>
                <a:gd name="T66" fmla="*/ 350 w 684"/>
                <a:gd name="T67" fmla="*/ 1180 h 1418"/>
                <a:gd name="T68" fmla="*/ 496 w 684"/>
                <a:gd name="T69" fmla="*/ 1154 h 1418"/>
                <a:gd name="T70" fmla="*/ 340 w 684"/>
                <a:gd name="T71" fmla="*/ 1297 h 1418"/>
                <a:gd name="T72" fmla="*/ 421 w 684"/>
                <a:gd name="T73" fmla="*/ 1320 h 1418"/>
                <a:gd name="T74" fmla="*/ 384 w 684"/>
                <a:gd name="T75" fmla="*/ 1367 h 1418"/>
                <a:gd name="T76" fmla="*/ 569 w 684"/>
                <a:gd name="T77" fmla="*/ 1287 h 1418"/>
                <a:gd name="T78" fmla="*/ 581 w 684"/>
                <a:gd name="T79" fmla="*/ 1317 h 1418"/>
                <a:gd name="T80" fmla="*/ 577 w 684"/>
                <a:gd name="T81" fmla="*/ 1396 h 1418"/>
                <a:gd name="T82" fmla="*/ 557 w 684"/>
                <a:gd name="T83" fmla="*/ 22 h 1418"/>
                <a:gd name="T84" fmla="*/ 576 w 684"/>
                <a:gd name="T85" fmla="*/ 130 h 1418"/>
                <a:gd name="T86" fmla="*/ 396 w 684"/>
                <a:gd name="T87" fmla="*/ 119 h 1418"/>
                <a:gd name="T88" fmla="*/ 328 w 684"/>
                <a:gd name="T89" fmla="*/ 192 h 1418"/>
                <a:gd name="T90" fmla="*/ 216 w 684"/>
                <a:gd name="T91" fmla="*/ 307 h 1418"/>
                <a:gd name="T92" fmla="*/ 550 w 684"/>
                <a:gd name="T93" fmla="*/ 641 h 1418"/>
                <a:gd name="T94" fmla="*/ 81 w 684"/>
                <a:gd name="T95" fmla="*/ 409 h 1418"/>
                <a:gd name="T96" fmla="*/ 143 w 684"/>
                <a:gd name="T97" fmla="*/ 496 h 1418"/>
                <a:gd name="T98" fmla="*/ 117 w 684"/>
                <a:gd name="T99" fmla="*/ 562 h 1418"/>
                <a:gd name="T100" fmla="*/ 99 w 684"/>
                <a:gd name="T101" fmla="*/ 688 h 1418"/>
                <a:gd name="T102" fmla="*/ 51 w 684"/>
                <a:gd name="T103" fmla="*/ 788 h 1418"/>
                <a:gd name="T104" fmla="*/ 76 w 684"/>
                <a:gd name="T105" fmla="*/ 1004 h 1418"/>
                <a:gd name="T106" fmla="*/ 108 w 684"/>
                <a:gd name="T107" fmla="*/ 1060 h 1418"/>
                <a:gd name="T108" fmla="*/ 222 w 684"/>
                <a:gd name="T109" fmla="*/ 1171 h 1418"/>
                <a:gd name="T110" fmla="*/ 207 w 684"/>
                <a:gd name="T111" fmla="*/ 1254 h 1418"/>
                <a:gd name="T112" fmla="*/ 590 w 684"/>
                <a:gd name="T113" fmla="*/ 1029 h 1418"/>
                <a:gd name="T114" fmla="*/ 339 w 684"/>
                <a:gd name="T115" fmla="*/ 1209 h 1418"/>
                <a:gd name="T116" fmla="*/ 327 w 684"/>
                <a:gd name="T117" fmla="*/ 1297 h 1418"/>
                <a:gd name="T118" fmla="*/ 396 w 684"/>
                <a:gd name="T119" fmla="*/ 1367 h 1418"/>
                <a:gd name="T120" fmla="*/ 503 w 684"/>
                <a:gd name="T121" fmla="*/ 1388 h 1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84" h="1418">
                  <a:moveTo>
                    <a:pt x="684" y="238"/>
                  </a:moveTo>
                  <a:cubicBezTo>
                    <a:pt x="644" y="198"/>
                    <a:pt x="644" y="198"/>
                    <a:pt x="644" y="198"/>
                  </a:cubicBezTo>
                  <a:cubicBezTo>
                    <a:pt x="645" y="83"/>
                    <a:pt x="645" y="83"/>
                    <a:pt x="645" y="83"/>
                  </a:cubicBezTo>
                  <a:cubicBezTo>
                    <a:pt x="586" y="32"/>
                    <a:pt x="586" y="32"/>
                    <a:pt x="586" y="32"/>
                  </a:cubicBezTo>
                  <a:cubicBezTo>
                    <a:pt x="588" y="29"/>
                    <a:pt x="589" y="26"/>
                    <a:pt x="589" y="22"/>
                  </a:cubicBezTo>
                  <a:cubicBezTo>
                    <a:pt x="589" y="10"/>
                    <a:pt x="579" y="0"/>
                    <a:pt x="566" y="0"/>
                  </a:cubicBezTo>
                  <a:cubicBezTo>
                    <a:pt x="554" y="0"/>
                    <a:pt x="544" y="10"/>
                    <a:pt x="544" y="22"/>
                  </a:cubicBezTo>
                  <a:cubicBezTo>
                    <a:pt x="544" y="35"/>
                    <a:pt x="554" y="45"/>
                    <a:pt x="566" y="45"/>
                  </a:cubicBezTo>
                  <a:cubicBezTo>
                    <a:pt x="571" y="45"/>
                    <a:pt x="574" y="43"/>
                    <a:pt x="578" y="41"/>
                  </a:cubicBezTo>
                  <a:cubicBezTo>
                    <a:pt x="632" y="89"/>
                    <a:pt x="632" y="89"/>
                    <a:pt x="632" y="89"/>
                  </a:cubicBezTo>
                  <a:cubicBezTo>
                    <a:pt x="631" y="186"/>
                    <a:pt x="631" y="186"/>
                    <a:pt x="631" y="186"/>
                  </a:cubicBezTo>
                  <a:cubicBezTo>
                    <a:pt x="586" y="141"/>
                    <a:pt x="586" y="141"/>
                    <a:pt x="586" y="141"/>
                  </a:cubicBezTo>
                  <a:cubicBezTo>
                    <a:pt x="587" y="138"/>
                    <a:pt x="588" y="134"/>
                    <a:pt x="588" y="130"/>
                  </a:cubicBezTo>
                  <a:cubicBezTo>
                    <a:pt x="588" y="118"/>
                    <a:pt x="578" y="108"/>
                    <a:pt x="566" y="108"/>
                  </a:cubicBezTo>
                  <a:cubicBezTo>
                    <a:pt x="554" y="108"/>
                    <a:pt x="544" y="118"/>
                    <a:pt x="544" y="130"/>
                  </a:cubicBezTo>
                  <a:cubicBezTo>
                    <a:pt x="544" y="143"/>
                    <a:pt x="554" y="153"/>
                    <a:pt x="566" y="153"/>
                  </a:cubicBezTo>
                  <a:cubicBezTo>
                    <a:pt x="570" y="153"/>
                    <a:pt x="574" y="151"/>
                    <a:pt x="577" y="150"/>
                  </a:cubicBezTo>
                  <a:cubicBezTo>
                    <a:pt x="613" y="185"/>
                    <a:pt x="613" y="185"/>
                    <a:pt x="613" y="185"/>
                  </a:cubicBezTo>
                  <a:cubicBezTo>
                    <a:pt x="567" y="185"/>
                    <a:pt x="567" y="185"/>
                    <a:pt x="567" y="185"/>
                  </a:cubicBezTo>
                  <a:cubicBezTo>
                    <a:pt x="512" y="137"/>
                    <a:pt x="512" y="137"/>
                    <a:pt x="512" y="137"/>
                  </a:cubicBezTo>
                  <a:cubicBezTo>
                    <a:pt x="513" y="134"/>
                    <a:pt x="514" y="131"/>
                    <a:pt x="514" y="128"/>
                  </a:cubicBezTo>
                  <a:cubicBezTo>
                    <a:pt x="514" y="116"/>
                    <a:pt x="504" y="106"/>
                    <a:pt x="492" y="106"/>
                  </a:cubicBezTo>
                  <a:cubicBezTo>
                    <a:pt x="479" y="106"/>
                    <a:pt x="469" y="116"/>
                    <a:pt x="469" y="128"/>
                  </a:cubicBezTo>
                  <a:cubicBezTo>
                    <a:pt x="469" y="140"/>
                    <a:pt x="479" y="150"/>
                    <a:pt x="492" y="150"/>
                  </a:cubicBezTo>
                  <a:cubicBezTo>
                    <a:pt x="496" y="150"/>
                    <a:pt x="500" y="149"/>
                    <a:pt x="503" y="146"/>
                  </a:cubicBezTo>
                  <a:cubicBezTo>
                    <a:pt x="562" y="198"/>
                    <a:pt x="562" y="198"/>
                    <a:pt x="562" y="198"/>
                  </a:cubicBezTo>
                  <a:cubicBezTo>
                    <a:pt x="626" y="198"/>
                    <a:pt x="626" y="198"/>
                    <a:pt x="626" y="198"/>
                  </a:cubicBezTo>
                  <a:cubicBezTo>
                    <a:pt x="671" y="243"/>
                    <a:pt x="671" y="243"/>
                    <a:pt x="671" y="243"/>
                  </a:cubicBezTo>
                  <a:cubicBezTo>
                    <a:pt x="671" y="474"/>
                    <a:pt x="671" y="474"/>
                    <a:pt x="671" y="474"/>
                  </a:cubicBezTo>
                  <a:cubicBezTo>
                    <a:pt x="628" y="436"/>
                    <a:pt x="628" y="436"/>
                    <a:pt x="628" y="436"/>
                  </a:cubicBezTo>
                  <a:cubicBezTo>
                    <a:pt x="628" y="296"/>
                    <a:pt x="628" y="296"/>
                    <a:pt x="628" y="296"/>
                  </a:cubicBezTo>
                  <a:cubicBezTo>
                    <a:pt x="637" y="293"/>
                    <a:pt x="643" y="285"/>
                    <a:pt x="643" y="275"/>
                  </a:cubicBezTo>
                  <a:cubicBezTo>
                    <a:pt x="643" y="263"/>
                    <a:pt x="633" y="253"/>
                    <a:pt x="621" y="253"/>
                  </a:cubicBezTo>
                  <a:cubicBezTo>
                    <a:pt x="609" y="253"/>
                    <a:pt x="599" y="263"/>
                    <a:pt x="599" y="275"/>
                  </a:cubicBezTo>
                  <a:cubicBezTo>
                    <a:pt x="599" y="286"/>
                    <a:pt x="606" y="294"/>
                    <a:pt x="616" y="297"/>
                  </a:cubicBezTo>
                  <a:cubicBezTo>
                    <a:pt x="616" y="426"/>
                    <a:pt x="616" y="426"/>
                    <a:pt x="616" y="426"/>
                  </a:cubicBezTo>
                  <a:cubicBezTo>
                    <a:pt x="564" y="381"/>
                    <a:pt x="564" y="381"/>
                    <a:pt x="564" y="381"/>
                  </a:cubicBezTo>
                  <a:cubicBezTo>
                    <a:pt x="564" y="249"/>
                    <a:pt x="564" y="249"/>
                    <a:pt x="564" y="249"/>
                  </a:cubicBezTo>
                  <a:cubicBezTo>
                    <a:pt x="426" y="129"/>
                    <a:pt x="426" y="129"/>
                    <a:pt x="426" y="129"/>
                  </a:cubicBezTo>
                  <a:cubicBezTo>
                    <a:pt x="427" y="126"/>
                    <a:pt x="428" y="122"/>
                    <a:pt x="428" y="119"/>
                  </a:cubicBezTo>
                  <a:cubicBezTo>
                    <a:pt x="428" y="107"/>
                    <a:pt x="418" y="97"/>
                    <a:pt x="406" y="97"/>
                  </a:cubicBezTo>
                  <a:cubicBezTo>
                    <a:pt x="394" y="97"/>
                    <a:pt x="384" y="107"/>
                    <a:pt x="384" y="119"/>
                  </a:cubicBezTo>
                  <a:cubicBezTo>
                    <a:pt x="384" y="131"/>
                    <a:pt x="394" y="141"/>
                    <a:pt x="406" y="141"/>
                  </a:cubicBezTo>
                  <a:cubicBezTo>
                    <a:pt x="410" y="141"/>
                    <a:pt x="414" y="140"/>
                    <a:pt x="417" y="138"/>
                  </a:cubicBezTo>
                  <a:cubicBezTo>
                    <a:pt x="552" y="254"/>
                    <a:pt x="552" y="254"/>
                    <a:pt x="552" y="254"/>
                  </a:cubicBezTo>
                  <a:cubicBezTo>
                    <a:pt x="552" y="322"/>
                    <a:pt x="552" y="322"/>
                    <a:pt x="552" y="322"/>
                  </a:cubicBezTo>
                  <a:cubicBezTo>
                    <a:pt x="501" y="278"/>
                    <a:pt x="501" y="278"/>
                    <a:pt x="501" y="278"/>
                  </a:cubicBezTo>
                  <a:cubicBezTo>
                    <a:pt x="447" y="278"/>
                    <a:pt x="447" y="278"/>
                    <a:pt x="447" y="278"/>
                  </a:cubicBezTo>
                  <a:cubicBezTo>
                    <a:pt x="348" y="191"/>
                    <a:pt x="348" y="191"/>
                    <a:pt x="348" y="191"/>
                  </a:cubicBezTo>
                  <a:cubicBezTo>
                    <a:pt x="349" y="188"/>
                    <a:pt x="350" y="185"/>
                    <a:pt x="350" y="182"/>
                  </a:cubicBezTo>
                  <a:cubicBezTo>
                    <a:pt x="350" y="170"/>
                    <a:pt x="340" y="160"/>
                    <a:pt x="328" y="160"/>
                  </a:cubicBezTo>
                  <a:cubicBezTo>
                    <a:pt x="316" y="160"/>
                    <a:pt x="306" y="170"/>
                    <a:pt x="306" y="182"/>
                  </a:cubicBezTo>
                  <a:cubicBezTo>
                    <a:pt x="306" y="195"/>
                    <a:pt x="316" y="205"/>
                    <a:pt x="328" y="205"/>
                  </a:cubicBezTo>
                  <a:cubicBezTo>
                    <a:pt x="332" y="205"/>
                    <a:pt x="337" y="203"/>
                    <a:pt x="340" y="201"/>
                  </a:cubicBezTo>
                  <a:cubicBezTo>
                    <a:pt x="443" y="290"/>
                    <a:pt x="443" y="290"/>
                    <a:pt x="443" y="290"/>
                  </a:cubicBezTo>
                  <a:cubicBezTo>
                    <a:pt x="497" y="290"/>
                    <a:pt x="497" y="290"/>
                    <a:pt x="497" y="290"/>
                  </a:cubicBezTo>
                  <a:cubicBezTo>
                    <a:pt x="552" y="338"/>
                    <a:pt x="552" y="338"/>
                    <a:pt x="552" y="338"/>
                  </a:cubicBezTo>
                  <a:cubicBezTo>
                    <a:pt x="552" y="387"/>
                    <a:pt x="552" y="387"/>
                    <a:pt x="552" y="387"/>
                  </a:cubicBezTo>
                  <a:cubicBezTo>
                    <a:pt x="671" y="491"/>
                    <a:pt x="671" y="491"/>
                    <a:pt x="671" y="491"/>
                  </a:cubicBezTo>
                  <a:cubicBezTo>
                    <a:pt x="671" y="673"/>
                    <a:pt x="671" y="673"/>
                    <a:pt x="671" y="673"/>
                  </a:cubicBezTo>
                  <a:cubicBezTo>
                    <a:pt x="449" y="484"/>
                    <a:pt x="449" y="484"/>
                    <a:pt x="449" y="484"/>
                  </a:cubicBezTo>
                  <a:cubicBezTo>
                    <a:pt x="449" y="352"/>
                    <a:pt x="449" y="352"/>
                    <a:pt x="449" y="352"/>
                  </a:cubicBezTo>
                  <a:cubicBezTo>
                    <a:pt x="326" y="245"/>
                    <a:pt x="326" y="245"/>
                    <a:pt x="326" y="245"/>
                  </a:cubicBezTo>
                  <a:cubicBezTo>
                    <a:pt x="226" y="245"/>
                    <a:pt x="226" y="245"/>
                    <a:pt x="226" y="245"/>
                  </a:cubicBezTo>
                  <a:cubicBezTo>
                    <a:pt x="223" y="236"/>
                    <a:pt x="215" y="229"/>
                    <a:pt x="205" y="229"/>
                  </a:cubicBezTo>
                  <a:cubicBezTo>
                    <a:pt x="193" y="229"/>
                    <a:pt x="183" y="239"/>
                    <a:pt x="183" y="251"/>
                  </a:cubicBezTo>
                  <a:cubicBezTo>
                    <a:pt x="183" y="264"/>
                    <a:pt x="193" y="274"/>
                    <a:pt x="205" y="274"/>
                  </a:cubicBezTo>
                  <a:cubicBezTo>
                    <a:pt x="215" y="274"/>
                    <a:pt x="223" y="267"/>
                    <a:pt x="226" y="258"/>
                  </a:cubicBezTo>
                  <a:cubicBezTo>
                    <a:pt x="321" y="258"/>
                    <a:pt x="321" y="258"/>
                    <a:pt x="321" y="258"/>
                  </a:cubicBezTo>
                  <a:cubicBezTo>
                    <a:pt x="418" y="341"/>
                    <a:pt x="418" y="341"/>
                    <a:pt x="418" y="341"/>
                  </a:cubicBezTo>
                  <a:cubicBezTo>
                    <a:pt x="370" y="341"/>
                    <a:pt x="370" y="341"/>
                    <a:pt x="370" y="341"/>
                  </a:cubicBezTo>
                  <a:cubicBezTo>
                    <a:pt x="325" y="302"/>
                    <a:pt x="325" y="302"/>
                    <a:pt x="325" y="302"/>
                  </a:cubicBezTo>
                  <a:cubicBezTo>
                    <a:pt x="247" y="302"/>
                    <a:pt x="247" y="302"/>
                    <a:pt x="247" y="302"/>
                  </a:cubicBezTo>
                  <a:cubicBezTo>
                    <a:pt x="245" y="292"/>
                    <a:pt x="236" y="285"/>
                    <a:pt x="226" y="285"/>
                  </a:cubicBezTo>
                  <a:cubicBezTo>
                    <a:pt x="214" y="285"/>
                    <a:pt x="204" y="295"/>
                    <a:pt x="204" y="307"/>
                  </a:cubicBezTo>
                  <a:cubicBezTo>
                    <a:pt x="204" y="319"/>
                    <a:pt x="214" y="329"/>
                    <a:pt x="226" y="329"/>
                  </a:cubicBezTo>
                  <a:cubicBezTo>
                    <a:pt x="236" y="329"/>
                    <a:pt x="244" y="323"/>
                    <a:pt x="247" y="314"/>
                  </a:cubicBezTo>
                  <a:cubicBezTo>
                    <a:pt x="320" y="314"/>
                    <a:pt x="320" y="314"/>
                    <a:pt x="320" y="314"/>
                  </a:cubicBezTo>
                  <a:cubicBezTo>
                    <a:pt x="366" y="354"/>
                    <a:pt x="366" y="354"/>
                    <a:pt x="366" y="354"/>
                  </a:cubicBezTo>
                  <a:cubicBezTo>
                    <a:pt x="431" y="354"/>
                    <a:pt x="431" y="354"/>
                    <a:pt x="431" y="354"/>
                  </a:cubicBezTo>
                  <a:cubicBezTo>
                    <a:pt x="431" y="353"/>
                    <a:pt x="431" y="353"/>
                    <a:pt x="431" y="353"/>
                  </a:cubicBezTo>
                  <a:cubicBezTo>
                    <a:pt x="437" y="358"/>
                    <a:pt x="437" y="358"/>
                    <a:pt x="437" y="358"/>
                  </a:cubicBezTo>
                  <a:cubicBezTo>
                    <a:pt x="437" y="490"/>
                    <a:pt x="437" y="490"/>
                    <a:pt x="437" y="490"/>
                  </a:cubicBezTo>
                  <a:cubicBezTo>
                    <a:pt x="671" y="689"/>
                    <a:pt x="671" y="689"/>
                    <a:pt x="671" y="689"/>
                  </a:cubicBezTo>
                  <a:cubicBezTo>
                    <a:pt x="671" y="718"/>
                    <a:pt x="671" y="718"/>
                    <a:pt x="671" y="718"/>
                  </a:cubicBezTo>
                  <a:cubicBezTo>
                    <a:pt x="581" y="648"/>
                    <a:pt x="581" y="648"/>
                    <a:pt x="581" y="648"/>
                  </a:cubicBezTo>
                  <a:cubicBezTo>
                    <a:pt x="581" y="646"/>
                    <a:pt x="582" y="644"/>
                    <a:pt x="582" y="641"/>
                  </a:cubicBezTo>
                  <a:cubicBezTo>
                    <a:pt x="582" y="629"/>
                    <a:pt x="572" y="619"/>
                    <a:pt x="560" y="619"/>
                  </a:cubicBezTo>
                  <a:cubicBezTo>
                    <a:pt x="548" y="619"/>
                    <a:pt x="538" y="629"/>
                    <a:pt x="538" y="641"/>
                  </a:cubicBezTo>
                  <a:cubicBezTo>
                    <a:pt x="538" y="654"/>
                    <a:pt x="548" y="664"/>
                    <a:pt x="560" y="664"/>
                  </a:cubicBezTo>
                  <a:cubicBezTo>
                    <a:pt x="565" y="664"/>
                    <a:pt x="570" y="662"/>
                    <a:pt x="574" y="659"/>
                  </a:cubicBezTo>
                  <a:cubicBezTo>
                    <a:pt x="671" y="734"/>
                    <a:pt x="671" y="734"/>
                    <a:pt x="671" y="734"/>
                  </a:cubicBezTo>
                  <a:cubicBezTo>
                    <a:pt x="671" y="753"/>
                    <a:pt x="671" y="753"/>
                    <a:pt x="671" y="753"/>
                  </a:cubicBezTo>
                  <a:cubicBezTo>
                    <a:pt x="598" y="753"/>
                    <a:pt x="598" y="753"/>
                    <a:pt x="598" y="753"/>
                  </a:cubicBezTo>
                  <a:cubicBezTo>
                    <a:pt x="490" y="663"/>
                    <a:pt x="490" y="663"/>
                    <a:pt x="490" y="663"/>
                  </a:cubicBezTo>
                  <a:cubicBezTo>
                    <a:pt x="490" y="613"/>
                    <a:pt x="490" y="613"/>
                    <a:pt x="490" y="613"/>
                  </a:cubicBezTo>
                  <a:cubicBezTo>
                    <a:pt x="401" y="535"/>
                    <a:pt x="401" y="535"/>
                    <a:pt x="401" y="535"/>
                  </a:cubicBezTo>
                  <a:cubicBezTo>
                    <a:pt x="401" y="457"/>
                    <a:pt x="401" y="457"/>
                    <a:pt x="401" y="457"/>
                  </a:cubicBezTo>
                  <a:cubicBezTo>
                    <a:pt x="324" y="389"/>
                    <a:pt x="324" y="389"/>
                    <a:pt x="324" y="389"/>
                  </a:cubicBezTo>
                  <a:cubicBezTo>
                    <a:pt x="325" y="387"/>
                    <a:pt x="326" y="384"/>
                    <a:pt x="326" y="381"/>
                  </a:cubicBezTo>
                  <a:cubicBezTo>
                    <a:pt x="326" y="368"/>
                    <a:pt x="316" y="358"/>
                    <a:pt x="303" y="358"/>
                  </a:cubicBezTo>
                  <a:cubicBezTo>
                    <a:pt x="291" y="358"/>
                    <a:pt x="281" y="368"/>
                    <a:pt x="281" y="381"/>
                  </a:cubicBezTo>
                  <a:cubicBezTo>
                    <a:pt x="281" y="393"/>
                    <a:pt x="291" y="403"/>
                    <a:pt x="303" y="403"/>
                  </a:cubicBezTo>
                  <a:cubicBezTo>
                    <a:pt x="308" y="403"/>
                    <a:pt x="312" y="401"/>
                    <a:pt x="316" y="399"/>
                  </a:cubicBezTo>
                  <a:cubicBezTo>
                    <a:pt x="389" y="462"/>
                    <a:pt x="389" y="462"/>
                    <a:pt x="389" y="462"/>
                  </a:cubicBezTo>
                  <a:cubicBezTo>
                    <a:pt x="389" y="524"/>
                    <a:pt x="389" y="524"/>
                    <a:pt x="389" y="524"/>
                  </a:cubicBezTo>
                  <a:cubicBezTo>
                    <a:pt x="340" y="482"/>
                    <a:pt x="340" y="482"/>
                    <a:pt x="340" y="482"/>
                  </a:cubicBezTo>
                  <a:cubicBezTo>
                    <a:pt x="260" y="482"/>
                    <a:pt x="260" y="482"/>
                    <a:pt x="260" y="482"/>
                  </a:cubicBezTo>
                  <a:cubicBezTo>
                    <a:pt x="180" y="413"/>
                    <a:pt x="180" y="413"/>
                    <a:pt x="180" y="413"/>
                  </a:cubicBezTo>
                  <a:cubicBezTo>
                    <a:pt x="103" y="413"/>
                    <a:pt x="103" y="413"/>
                    <a:pt x="103" y="413"/>
                  </a:cubicBezTo>
                  <a:cubicBezTo>
                    <a:pt x="100" y="403"/>
                    <a:pt x="92" y="397"/>
                    <a:pt x="81" y="397"/>
                  </a:cubicBezTo>
                  <a:cubicBezTo>
                    <a:pt x="69" y="397"/>
                    <a:pt x="59" y="406"/>
                    <a:pt x="59" y="419"/>
                  </a:cubicBezTo>
                  <a:cubicBezTo>
                    <a:pt x="59" y="431"/>
                    <a:pt x="69" y="441"/>
                    <a:pt x="81" y="441"/>
                  </a:cubicBezTo>
                  <a:cubicBezTo>
                    <a:pt x="91" y="441"/>
                    <a:pt x="100" y="434"/>
                    <a:pt x="102" y="425"/>
                  </a:cubicBezTo>
                  <a:cubicBezTo>
                    <a:pt x="175" y="425"/>
                    <a:pt x="175" y="425"/>
                    <a:pt x="175" y="425"/>
                  </a:cubicBezTo>
                  <a:cubicBezTo>
                    <a:pt x="241" y="482"/>
                    <a:pt x="241" y="482"/>
                    <a:pt x="241" y="482"/>
                  </a:cubicBezTo>
                  <a:cubicBezTo>
                    <a:pt x="165" y="482"/>
                    <a:pt x="165" y="482"/>
                    <a:pt x="165" y="482"/>
                  </a:cubicBezTo>
                  <a:cubicBezTo>
                    <a:pt x="162" y="472"/>
                    <a:pt x="154" y="465"/>
                    <a:pt x="143" y="465"/>
                  </a:cubicBezTo>
                  <a:cubicBezTo>
                    <a:pt x="131" y="465"/>
                    <a:pt x="121" y="475"/>
                    <a:pt x="121" y="487"/>
                  </a:cubicBezTo>
                  <a:cubicBezTo>
                    <a:pt x="121" y="499"/>
                    <a:pt x="131" y="509"/>
                    <a:pt x="143" y="509"/>
                  </a:cubicBezTo>
                  <a:cubicBezTo>
                    <a:pt x="153" y="509"/>
                    <a:pt x="161" y="503"/>
                    <a:pt x="164" y="494"/>
                  </a:cubicBezTo>
                  <a:cubicBezTo>
                    <a:pt x="335" y="494"/>
                    <a:pt x="335" y="494"/>
                    <a:pt x="335" y="494"/>
                  </a:cubicBezTo>
                  <a:cubicBezTo>
                    <a:pt x="477" y="618"/>
                    <a:pt x="477" y="618"/>
                    <a:pt x="477" y="618"/>
                  </a:cubicBezTo>
                  <a:cubicBezTo>
                    <a:pt x="477" y="643"/>
                    <a:pt x="477" y="643"/>
                    <a:pt x="477" y="643"/>
                  </a:cubicBezTo>
                  <a:cubicBezTo>
                    <a:pt x="427" y="643"/>
                    <a:pt x="427" y="643"/>
                    <a:pt x="427" y="643"/>
                  </a:cubicBezTo>
                  <a:cubicBezTo>
                    <a:pt x="354" y="577"/>
                    <a:pt x="354" y="577"/>
                    <a:pt x="354" y="577"/>
                  </a:cubicBezTo>
                  <a:cubicBezTo>
                    <a:pt x="356" y="574"/>
                    <a:pt x="356" y="570"/>
                    <a:pt x="356" y="567"/>
                  </a:cubicBezTo>
                  <a:cubicBezTo>
                    <a:pt x="356" y="555"/>
                    <a:pt x="346" y="545"/>
                    <a:pt x="334" y="545"/>
                  </a:cubicBezTo>
                  <a:cubicBezTo>
                    <a:pt x="322" y="545"/>
                    <a:pt x="312" y="555"/>
                    <a:pt x="312" y="567"/>
                  </a:cubicBezTo>
                  <a:cubicBezTo>
                    <a:pt x="312" y="579"/>
                    <a:pt x="322" y="589"/>
                    <a:pt x="334" y="589"/>
                  </a:cubicBezTo>
                  <a:cubicBezTo>
                    <a:pt x="338" y="589"/>
                    <a:pt x="342" y="588"/>
                    <a:pt x="346" y="586"/>
                  </a:cubicBezTo>
                  <a:cubicBezTo>
                    <a:pt x="422" y="655"/>
                    <a:pt x="422" y="655"/>
                    <a:pt x="422" y="655"/>
                  </a:cubicBezTo>
                  <a:cubicBezTo>
                    <a:pt x="477" y="655"/>
                    <a:pt x="477" y="655"/>
                    <a:pt x="477" y="655"/>
                  </a:cubicBezTo>
                  <a:cubicBezTo>
                    <a:pt x="477" y="668"/>
                    <a:pt x="477" y="668"/>
                    <a:pt x="477" y="668"/>
                  </a:cubicBezTo>
                  <a:cubicBezTo>
                    <a:pt x="593" y="765"/>
                    <a:pt x="593" y="765"/>
                    <a:pt x="593" y="765"/>
                  </a:cubicBezTo>
                  <a:cubicBezTo>
                    <a:pt x="671" y="765"/>
                    <a:pt x="671" y="765"/>
                    <a:pt x="671" y="765"/>
                  </a:cubicBezTo>
                  <a:cubicBezTo>
                    <a:pt x="671" y="831"/>
                    <a:pt x="671" y="831"/>
                    <a:pt x="671" y="831"/>
                  </a:cubicBezTo>
                  <a:cubicBezTo>
                    <a:pt x="581" y="831"/>
                    <a:pt x="581" y="831"/>
                    <a:pt x="581" y="831"/>
                  </a:cubicBezTo>
                  <a:cubicBezTo>
                    <a:pt x="278" y="565"/>
                    <a:pt x="278" y="565"/>
                    <a:pt x="278" y="565"/>
                  </a:cubicBezTo>
                  <a:cubicBezTo>
                    <a:pt x="138" y="565"/>
                    <a:pt x="138" y="565"/>
                    <a:pt x="138" y="565"/>
                  </a:cubicBezTo>
                  <a:cubicBezTo>
                    <a:pt x="135" y="556"/>
                    <a:pt x="127" y="549"/>
                    <a:pt x="117" y="549"/>
                  </a:cubicBezTo>
                  <a:cubicBezTo>
                    <a:pt x="105" y="549"/>
                    <a:pt x="95" y="559"/>
                    <a:pt x="95" y="571"/>
                  </a:cubicBezTo>
                  <a:cubicBezTo>
                    <a:pt x="95" y="584"/>
                    <a:pt x="105" y="593"/>
                    <a:pt x="117" y="593"/>
                  </a:cubicBezTo>
                  <a:cubicBezTo>
                    <a:pt x="127" y="593"/>
                    <a:pt x="135" y="587"/>
                    <a:pt x="138" y="578"/>
                  </a:cubicBezTo>
                  <a:cubicBezTo>
                    <a:pt x="273" y="578"/>
                    <a:pt x="273" y="578"/>
                    <a:pt x="273" y="578"/>
                  </a:cubicBezTo>
                  <a:cubicBezTo>
                    <a:pt x="447" y="730"/>
                    <a:pt x="447" y="730"/>
                    <a:pt x="447" y="730"/>
                  </a:cubicBezTo>
                  <a:cubicBezTo>
                    <a:pt x="325" y="730"/>
                    <a:pt x="325" y="730"/>
                    <a:pt x="325" y="730"/>
                  </a:cubicBezTo>
                  <a:cubicBezTo>
                    <a:pt x="259" y="672"/>
                    <a:pt x="259" y="672"/>
                    <a:pt x="259" y="672"/>
                  </a:cubicBezTo>
                  <a:cubicBezTo>
                    <a:pt x="120" y="672"/>
                    <a:pt x="120" y="672"/>
                    <a:pt x="120" y="672"/>
                  </a:cubicBezTo>
                  <a:cubicBezTo>
                    <a:pt x="117" y="663"/>
                    <a:pt x="109" y="656"/>
                    <a:pt x="99" y="656"/>
                  </a:cubicBezTo>
                  <a:cubicBezTo>
                    <a:pt x="86" y="656"/>
                    <a:pt x="77" y="666"/>
                    <a:pt x="77" y="678"/>
                  </a:cubicBezTo>
                  <a:cubicBezTo>
                    <a:pt x="77" y="690"/>
                    <a:pt x="86" y="700"/>
                    <a:pt x="99" y="700"/>
                  </a:cubicBezTo>
                  <a:cubicBezTo>
                    <a:pt x="109" y="700"/>
                    <a:pt x="117" y="694"/>
                    <a:pt x="120" y="685"/>
                  </a:cubicBezTo>
                  <a:cubicBezTo>
                    <a:pt x="200" y="685"/>
                    <a:pt x="200" y="685"/>
                    <a:pt x="200" y="685"/>
                  </a:cubicBezTo>
                  <a:cubicBezTo>
                    <a:pt x="149" y="729"/>
                    <a:pt x="149" y="729"/>
                    <a:pt x="149" y="729"/>
                  </a:cubicBezTo>
                  <a:cubicBezTo>
                    <a:pt x="43" y="729"/>
                    <a:pt x="43" y="729"/>
                    <a:pt x="43" y="729"/>
                  </a:cubicBezTo>
                  <a:cubicBezTo>
                    <a:pt x="41" y="720"/>
                    <a:pt x="32" y="713"/>
                    <a:pt x="22" y="713"/>
                  </a:cubicBezTo>
                  <a:cubicBezTo>
                    <a:pt x="10" y="713"/>
                    <a:pt x="0" y="723"/>
                    <a:pt x="0" y="735"/>
                  </a:cubicBezTo>
                  <a:cubicBezTo>
                    <a:pt x="0" y="748"/>
                    <a:pt x="10" y="757"/>
                    <a:pt x="22" y="757"/>
                  </a:cubicBezTo>
                  <a:cubicBezTo>
                    <a:pt x="32" y="757"/>
                    <a:pt x="41" y="751"/>
                    <a:pt x="43" y="742"/>
                  </a:cubicBezTo>
                  <a:cubicBezTo>
                    <a:pt x="154" y="742"/>
                    <a:pt x="154" y="742"/>
                    <a:pt x="154" y="742"/>
                  </a:cubicBezTo>
                  <a:cubicBezTo>
                    <a:pt x="219" y="685"/>
                    <a:pt x="219" y="685"/>
                    <a:pt x="219" y="685"/>
                  </a:cubicBezTo>
                  <a:cubicBezTo>
                    <a:pt x="254" y="685"/>
                    <a:pt x="254" y="685"/>
                    <a:pt x="254" y="685"/>
                  </a:cubicBezTo>
                  <a:cubicBezTo>
                    <a:pt x="320" y="743"/>
                    <a:pt x="320" y="743"/>
                    <a:pt x="320" y="743"/>
                  </a:cubicBezTo>
                  <a:cubicBezTo>
                    <a:pt x="462" y="743"/>
                    <a:pt x="462" y="743"/>
                    <a:pt x="462" y="743"/>
                  </a:cubicBezTo>
                  <a:cubicBezTo>
                    <a:pt x="562" y="831"/>
                    <a:pt x="562" y="831"/>
                    <a:pt x="562" y="831"/>
                  </a:cubicBezTo>
                  <a:cubicBezTo>
                    <a:pt x="263" y="831"/>
                    <a:pt x="263" y="831"/>
                    <a:pt x="263" y="831"/>
                  </a:cubicBezTo>
                  <a:cubicBezTo>
                    <a:pt x="206" y="781"/>
                    <a:pt x="206" y="781"/>
                    <a:pt x="206" y="781"/>
                  </a:cubicBezTo>
                  <a:cubicBezTo>
                    <a:pt x="63" y="781"/>
                    <a:pt x="63" y="781"/>
                    <a:pt x="63" y="781"/>
                  </a:cubicBezTo>
                  <a:cubicBezTo>
                    <a:pt x="60" y="772"/>
                    <a:pt x="51" y="766"/>
                    <a:pt x="42" y="766"/>
                  </a:cubicBezTo>
                  <a:cubicBezTo>
                    <a:pt x="29" y="766"/>
                    <a:pt x="20" y="776"/>
                    <a:pt x="20" y="788"/>
                  </a:cubicBezTo>
                  <a:cubicBezTo>
                    <a:pt x="20" y="800"/>
                    <a:pt x="29" y="810"/>
                    <a:pt x="42" y="810"/>
                  </a:cubicBezTo>
                  <a:cubicBezTo>
                    <a:pt x="52" y="810"/>
                    <a:pt x="61" y="803"/>
                    <a:pt x="63" y="794"/>
                  </a:cubicBezTo>
                  <a:cubicBezTo>
                    <a:pt x="201" y="794"/>
                    <a:pt x="201" y="794"/>
                    <a:pt x="201" y="794"/>
                  </a:cubicBezTo>
                  <a:cubicBezTo>
                    <a:pt x="258" y="843"/>
                    <a:pt x="258" y="843"/>
                    <a:pt x="258" y="843"/>
                  </a:cubicBezTo>
                  <a:cubicBezTo>
                    <a:pt x="482" y="843"/>
                    <a:pt x="482" y="843"/>
                    <a:pt x="482" y="843"/>
                  </a:cubicBezTo>
                  <a:cubicBezTo>
                    <a:pt x="411" y="905"/>
                    <a:pt x="411" y="905"/>
                    <a:pt x="411" y="905"/>
                  </a:cubicBezTo>
                  <a:cubicBezTo>
                    <a:pt x="411" y="907"/>
                    <a:pt x="411" y="907"/>
                    <a:pt x="411" y="907"/>
                  </a:cubicBezTo>
                  <a:cubicBezTo>
                    <a:pt x="382" y="933"/>
                    <a:pt x="382" y="933"/>
                    <a:pt x="382" y="933"/>
                  </a:cubicBezTo>
                  <a:cubicBezTo>
                    <a:pt x="346" y="933"/>
                    <a:pt x="346" y="933"/>
                    <a:pt x="346" y="933"/>
                  </a:cubicBezTo>
                  <a:cubicBezTo>
                    <a:pt x="305" y="898"/>
                    <a:pt x="305" y="898"/>
                    <a:pt x="305" y="898"/>
                  </a:cubicBezTo>
                  <a:cubicBezTo>
                    <a:pt x="305" y="897"/>
                    <a:pt x="306" y="896"/>
                    <a:pt x="306" y="894"/>
                  </a:cubicBezTo>
                  <a:cubicBezTo>
                    <a:pt x="309" y="882"/>
                    <a:pt x="302" y="870"/>
                    <a:pt x="290" y="867"/>
                  </a:cubicBezTo>
                  <a:cubicBezTo>
                    <a:pt x="288" y="867"/>
                    <a:pt x="286" y="867"/>
                    <a:pt x="285" y="867"/>
                  </a:cubicBezTo>
                  <a:cubicBezTo>
                    <a:pt x="275" y="867"/>
                    <a:pt x="266" y="874"/>
                    <a:pt x="263" y="884"/>
                  </a:cubicBezTo>
                  <a:cubicBezTo>
                    <a:pt x="260" y="895"/>
                    <a:pt x="267" y="907"/>
                    <a:pt x="279" y="910"/>
                  </a:cubicBezTo>
                  <a:cubicBezTo>
                    <a:pt x="281" y="911"/>
                    <a:pt x="283" y="911"/>
                    <a:pt x="285" y="911"/>
                  </a:cubicBezTo>
                  <a:cubicBezTo>
                    <a:pt x="289" y="911"/>
                    <a:pt x="293" y="910"/>
                    <a:pt x="297" y="907"/>
                  </a:cubicBezTo>
                  <a:cubicBezTo>
                    <a:pt x="327" y="933"/>
                    <a:pt x="327" y="933"/>
                    <a:pt x="327" y="933"/>
                  </a:cubicBezTo>
                  <a:cubicBezTo>
                    <a:pt x="151" y="933"/>
                    <a:pt x="151" y="933"/>
                    <a:pt x="151" y="933"/>
                  </a:cubicBezTo>
                  <a:cubicBezTo>
                    <a:pt x="89" y="976"/>
                    <a:pt x="89" y="976"/>
                    <a:pt x="89" y="976"/>
                  </a:cubicBezTo>
                  <a:cubicBezTo>
                    <a:pt x="85" y="973"/>
                    <a:pt x="81" y="972"/>
                    <a:pt x="76" y="972"/>
                  </a:cubicBezTo>
                  <a:cubicBezTo>
                    <a:pt x="64" y="972"/>
                    <a:pt x="54" y="982"/>
                    <a:pt x="54" y="994"/>
                  </a:cubicBezTo>
                  <a:cubicBezTo>
                    <a:pt x="54" y="1006"/>
                    <a:pt x="64" y="1016"/>
                    <a:pt x="76" y="1016"/>
                  </a:cubicBezTo>
                  <a:cubicBezTo>
                    <a:pt x="88" y="1016"/>
                    <a:pt x="98" y="1006"/>
                    <a:pt x="98" y="994"/>
                  </a:cubicBezTo>
                  <a:cubicBezTo>
                    <a:pt x="98" y="991"/>
                    <a:pt x="98" y="988"/>
                    <a:pt x="97" y="986"/>
                  </a:cubicBezTo>
                  <a:cubicBezTo>
                    <a:pt x="154" y="945"/>
                    <a:pt x="154" y="945"/>
                    <a:pt x="154" y="945"/>
                  </a:cubicBezTo>
                  <a:cubicBezTo>
                    <a:pt x="221" y="945"/>
                    <a:pt x="221" y="945"/>
                    <a:pt x="221" y="945"/>
                  </a:cubicBezTo>
                  <a:cubicBezTo>
                    <a:pt x="111" y="1042"/>
                    <a:pt x="111" y="1042"/>
                    <a:pt x="111" y="1042"/>
                  </a:cubicBezTo>
                  <a:cubicBezTo>
                    <a:pt x="107" y="1039"/>
                    <a:pt x="103" y="1038"/>
                    <a:pt x="99" y="1038"/>
                  </a:cubicBezTo>
                  <a:cubicBezTo>
                    <a:pt x="87" y="1038"/>
                    <a:pt x="77" y="1048"/>
                    <a:pt x="77" y="1060"/>
                  </a:cubicBezTo>
                  <a:cubicBezTo>
                    <a:pt x="77" y="1072"/>
                    <a:pt x="87" y="1082"/>
                    <a:pt x="99" y="1082"/>
                  </a:cubicBezTo>
                  <a:cubicBezTo>
                    <a:pt x="111" y="1082"/>
                    <a:pt x="121" y="1072"/>
                    <a:pt x="121" y="1060"/>
                  </a:cubicBezTo>
                  <a:cubicBezTo>
                    <a:pt x="121" y="1057"/>
                    <a:pt x="120" y="1054"/>
                    <a:pt x="119" y="1051"/>
                  </a:cubicBezTo>
                  <a:cubicBezTo>
                    <a:pt x="240" y="945"/>
                    <a:pt x="240" y="945"/>
                    <a:pt x="240" y="945"/>
                  </a:cubicBezTo>
                  <a:cubicBezTo>
                    <a:pt x="367" y="945"/>
                    <a:pt x="367" y="945"/>
                    <a:pt x="367" y="945"/>
                  </a:cubicBezTo>
                  <a:cubicBezTo>
                    <a:pt x="186" y="1103"/>
                    <a:pt x="186" y="1103"/>
                    <a:pt x="186" y="1103"/>
                  </a:cubicBezTo>
                  <a:cubicBezTo>
                    <a:pt x="121" y="1103"/>
                    <a:pt x="121" y="1103"/>
                    <a:pt x="121" y="1103"/>
                  </a:cubicBezTo>
                  <a:cubicBezTo>
                    <a:pt x="119" y="1094"/>
                    <a:pt x="110" y="1088"/>
                    <a:pt x="100" y="1088"/>
                  </a:cubicBezTo>
                  <a:cubicBezTo>
                    <a:pt x="88" y="1088"/>
                    <a:pt x="78" y="1098"/>
                    <a:pt x="78" y="1110"/>
                  </a:cubicBezTo>
                  <a:cubicBezTo>
                    <a:pt x="78" y="1122"/>
                    <a:pt x="88" y="1132"/>
                    <a:pt x="100" y="1132"/>
                  </a:cubicBezTo>
                  <a:cubicBezTo>
                    <a:pt x="110" y="1132"/>
                    <a:pt x="119" y="1125"/>
                    <a:pt x="122" y="1116"/>
                  </a:cubicBezTo>
                  <a:cubicBezTo>
                    <a:pt x="191" y="1116"/>
                    <a:pt x="191" y="1116"/>
                    <a:pt x="191" y="1116"/>
                  </a:cubicBezTo>
                  <a:cubicBezTo>
                    <a:pt x="324" y="1000"/>
                    <a:pt x="324" y="1000"/>
                    <a:pt x="324" y="1000"/>
                  </a:cubicBezTo>
                  <a:cubicBezTo>
                    <a:pt x="324" y="1084"/>
                    <a:pt x="324" y="1084"/>
                    <a:pt x="324" y="1084"/>
                  </a:cubicBezTo>
                  <a:cubicBezTo>
                    <a:pt x="244" y="1153"/>
                    <a:pt x="244" y="1153"/>
                    <a:pt x="244" y="1153"/>
                  </a:cubicBezTo>
                  <a:cubicBezTo>
                    <a:pt x="241" y="1151"/>
                    <a:pt x="237" y="1149"/>
                    <a:pt x="232" y="1149"/>
                  </a:cubicBezTo>
                  <a:cubicBezTo>
                    <a:pt x="220" y="1149"/>
                    <a:pt x="210" y="1159"/>
                    <a:pt x="210" y="1171"/>
                  </a:cubicBezTo>
                  <a:cubicBezTo>
                    <a:pt x="210" y="1184"/>
                    <a:pt x="220" y="1193"/>
                    <a:pt x="232" y="1193"/>
                  </a:cubicBezTo>
                  <a:cubicBezTo>
                    <a:pt x="244" y="1193"/>
                    <a:pt x="254" y="1184"/>
                    <a:pt x="254" y="1171"/>
                  </a:cubicBezTo>
                  <a:cubicBezTo>
                    <a:pt x="254" y="1168"/>
                    <a:pt x="254" y="1165"/>
                    <a:pt x="252" y="1162"/>
                  </a:cubicBezTo>
                  <a:cubicBezTo>
                    <a:pt x="336" y="1089"/>
                    <a:pt x="336" y="1089"/>
                    <a:pt x="336" y="1089"/>
                  </a:cubicBezTo>
                  <a:cubicBezTo>
                    <a:pt x="336" y="989"/>
                    <a:pt x="336" y="989"/>
                    <a:pt x="336" y="989"/>
                  </a:cubicBezTo>
                  <a:cubicBezTo>
                    <a:pt x="411" y="924"/>
                    <a:pt x="411" y="924"/>
                    <a:pt x="411" y="924"/>
                  </a:cubicBezTo>
                  <a:cubicBezTo>
                    <a:pt x="411" y="1059"/>
                    <a:pt x="411" y="1059"/>
                    <a:pt x="411" y="1059"/>
                  </a:cubicBezTo>
                  <a:cubicBezTo>
                    <a:pt x="219" y="1226"/>
                    <a:pt x="219" y="1226"/>
                    <a:pt x="219" y="1226"/>
                  </a:cubicBezTo>
                  <a:cubicBezTo>
                    <a:pt x="216" y="1224"/>
                    <a:pt x="212" y="1222"/>
                    <a:pt x="207" y="1222"/>
                  </a:cubicBezTo>
                  <a:cubicBezTo>
                    <a:pt x="195" y="1222"/>
                    <a:pt x="185" y="1232"/>
                    <a:pt x="185" y="1245"/>
                  </a:cubicBezTo>
                  <a:cubicBezTo>
                    <a:pt x="185" y="1257"/>
                    <a:pt x="195" y="1267"/>
                    <a:pt x="207" y="1267"/>
                  </a:cubicBezTo>
                  <a:cubicBezTo>
                    <a:pt x="219" y="1267"/>
                    <a:pt x="229" y="1257"/>
                    <a:pt x="229" y="1245"/>
                  </a:cubicBezTo>
                  <a:cubicBezTo>
                    <a:pt x="229" y="1241"/>
                    <a:pt x="228" y="1239"/>
                    <a:pt x="227" y="1236"/>
                  </a:cubicBezTo>
                  <a:cubicBezTo>
                    <a:pt x="423" y="1065"/>
                    <a:pt x="423" y="1065"/>
                    <a:pt x="423" y="1065"/>
                  </a:cubicBezTo>
                  <a:cubicBezTo>
                    <a:pt x="423" y="911"/>
                    <a:pt x="423" y="911"/>
                    <a:pt x="423" y="911"/>
                  </a:cubicBezTo>
                  <a:cubicBezTo>
                    <a:pt x="501" y="843"/>
                    <a:pt x="501" y="843"/>
                    <a:pt x="501" y="843"/>
                  </a:cubicBezTo>
                  <a:cubicBezTo>
                    <a:pt x="577" y="843"/>
                    <a:pt x="577" y="843"/>
                    <a:pt x="577" y="843"/>
                  </a:cubicBezTo>
                  <a:cubicBezTo>
                    <a:pt x="578" y="844"/>
                    <a:pt x="578" y="844"/>
                    <a:pt x="578" y="844"/>
                  </a:cubicBezTo>
                  <a:cubicBezTo>
                    <a:pt x="578" y="843"/>
                    <a:pt x="578" y="843"/>
                    <a:pt x="578" y="843"/>
                  </a:cubicBezTo>
                  <a:cubicBezTo>
                    <a:pt x="608" y="843"/>
                    <a:pt x="608" y="843"/>
                    <a:pt x="608" y="843"/>
                  </a:cubicBezTo>
                  <a:cubicBezTo>
                    <a:pt x="538" y="904"/>
                    <a:pt x="538" y="904"/>
                    <a:pt x="538" y="904"/>
                  </a:cubicBezTo>
                  <a:cubicBezTo>
                    <a:pt x="538" y="1017"/>
                    <a:pt x="538" y="1017"/>
                    <a:pt x="538" y="1017"/>
                  </a:cubicBezTo>
                  <a:cubicBezTo>
                    <a:pt x="502" y="1049"/>
                    <a:pt x="502" y="1049"/>
                    <a:pt x="502" y="1049"/>
                  </a:cubicBezTo>
                  <a:cubicBezTo>
                    <a:pt x="499" y="1047"/>
                    <a:pt x="495" y="1046"/>
                    <a:pt x="491" y="1046"/>
                  </a:cubicBezTo>
                  <a:cubicBezTo>
                    <a:pt x="478" y="1046"/>
                    <a:pt x="468" y="1056"/>
                    <a:pt x="468" y="1068"/>
                  </a:cubicBezTo>
                  <a:cubicBezTo>
                    <a:pt x="468" y="1080"/>
                    <a:pt x="478" y="1090"/>
                    <a:pt x="491" y="1090"/>
                  </a:cubicBezTo>
                  <a:cubicBezTo>
                    <a:pt x="503" y="1090"/>
                    <a:pt x="513" y="1080"/>
                    <a:pt x="513" y="1068"/>
                  </a:cubicBezTo>
                  <a:cubicBezTo>
                    <a:pt x="513" y="1065"/>
                    <a:pt x="512" y="1061"/>
                    <a:pt x="510" y="1058"/>
                  </a:cubicBezTo>
                  <a:cubicBezTo>
                    <a:pt x="551" y="1023"/>
                    <a:pt x="551" y="1023"/>
                    <a:pt x="551" y="1023"/>
                  </a:cubicBezTo>
                  <a:cubicBezTo>
                    <a:pt x="551" y="964"/>
                    <a:pt x="551" y="964"/>
                    <a:pt x="551" y="964"/>
                  </a:cubicBezTo>
                  <a:cubicBezTo>
                    <a:pt x="585" y="993"/>
                    <a:pt x="585" y="993"/>
                    <a:pt x="585" y="993"/>
                  </a:cubicBezTo>
                  <a:cubicBezTo>
                    <a:pt x="585" y="1018"/>
                    <a:pt x="585" y="1018"/>
                    <a:pt x="585" y="1018"/>
                  </a:cubicBezTo>
                  <a:cubicBezTo>
                    <a:pt x="575" y="1020"/>
                    <a:pt x="568" y="1029"/>
                    <a:pt x="568" y="1039"/>
                  </a:cubicBezTo>
                  <a:cubicBezTo>
                    <a:pt x="568" y="1051"/>
                    <a:pt x="577" y="1061"/>
                    <a:pt x="590" y="1061"/>
                  </a:cubicBezTo>
                  <a:cubicBezTo>
                    <a:pt x="602" y="1061"/>
                    <a:pt x="612" y="1051"/>
                    <a:pt x="612" y="1039"/>
                  </a:cubicBezTo>
                  <a:cubicBezTo>
                    <a:pt x="612" y="1030"/>
                    <a:pt x="606" y="1021"/>
                    <a:pt x="597" y="1018"/>
                  </a:cubicBezTo>
                  <a:cubicBezTo>
                    <a:pt x="597" y="988"/>
                    <a:pt x="597" y="988"/>
                    <a:pt x="597" y="988"/>
                  </a:cubicBezTo>
                  <a:cubicBezTo>
                    <a:pt x="551" y="947"/>
                    <a:pt x="551" y="947"/>
                    <a:pt x="551" y="947"/>
                  </a:cubicBezTo>
                  <a:cubicBezTo>
                    <a:pt x="551" y="909"/>
                    <a:pt x="551" y="909"/>
                    <a:pt x="551" y="909"/>
                  </a:cubicBezTo>
                  <a:cubicBezTo>
                    <a:pt x="626" y="844"/>
                    <a:pt x="626" y="844"/>
                    <a:pt x="626" y="844"/>
                  </a:cubicBezTo>
                  <a:cubicBezTo>
                    <a:pt x="625" y="843"/>
                    <a:pt x="625" y="843"/>
                    <a:pt x="625" y="843"/>
                  </a:cubicBezTo>
                  <a:cubicBezTo>
                    <a:pt x="671" y="843"/>
                    <a:pt x="671" y="843"/>
                    <a:pt x="671" y="843"/>
                  </a:cubicBezTo>
                  <a:cubicBezTo>
                    <a:pt x="671" y="886"/>
                    <a:pt x="671" y="886"/>
                    <a:pt x="671" y="886"/>
                  </a:cubicBezTo>
                  <a:cubicBezTo>
                    <a:pt x="624" y="928"/>
                    <a:pt x="624" y="928"/>
                    <a:pt x="624" y="928"/>
                  </a:cubicBezTo>
                  <a:cubicBezTo>
                    <a:pt x="620" y="925"/>
                    <a:pt x="616" y="923"/>
                    <a:pt x="611" y="923"/>
                  </a:cubicBezTo>
                  <a:cubicBezTo>
                    <a:pt x="599" y="923"/>
                    <a:pt x="589" y="933"/>
                    <a:pt x="589" y="946"/>
                  </a:cubicBezTo>
                  <a:cubicBezTo>
                    <a:pt x="589" y="958"/>
                    <a:pt x="599" y="968"/>
                    <a:pt x="611" y="968"/>
                  </a:cubicBezTo>
                  <a:cubicBezTo>
                    <a:pt x="623" y="968"/>
                    <a:pt x="633" y="958"/>
                    <a:pt x="633" y="946"/>
                  </a:cubicBezTo>
                  <a:cubicBezTo>
                    <a:pt x="633" y="943"/>
                    <a:pt x="632" y="940"/>
                    <a:pt x="631" y="937"/>
                  </a:cubicBezTo>
                  <a:cubicBezTo>
                    <a:pt x="671" y="903"/>
                    <a:pt x="671" y="903"/>
                    <a:pt x="671" y="903"/>
                  </a:cubicBezTo>
                  <a:cubicBezTo>
                    <a:pt x="671" y="1001"/>
                    <a:pt x="671" y="1001"/>
                    <a:pt x="671" y="1001"/>
                  </a:cubicBezTo>
                  <a:cubicBezTo>
                    <a:pt x="554" y="1103"/>
                    <a:pt x="554" y="1103"/>
                    <a:pt x="554" y="1103"/>
                  </a:cubicBezTo>
                  <a:cubicBezTo>
                    <a:pt x="438" y="1103"/>
                    <a:pt x="438" y="1103"/>
                    <a:pt x="438" y="1103"/>
                  </a:cubicBezTo>
                  <a:cubicBezTo>
                    <a:pt x="350" y="1180"/>
                    <a:pt x="350" y="1180"/>
                    <a:pt x="350" y="1180"/>
                  </a:cubicBezTo>
                  <a:cubicBezTo>
                    <a:pt x="346" y="1178"/>
                    <a:pt x="343" y="1177"/>
                    <a:pt x="339" y="1177"/>
                  </a:cubicBezTo>
                  <a:cubicBezTo>
                    <a:pt x="326" y="1177"/>
                    <a:pt x="316" y="1187"/>
                    <a:pt x="316" y="1199"/>
                  </a:cubicBezTo>
                  <a:cubicBezTo>
                    <a:pt x="316" y="1211"/>
                    <a:pt x="326" y="1221"/>
                    <a:pt x="339" y="1221"/>
                  </a:cubicBezTo>
                  <a:cubicBezTo>
                    <a:pt x="351" y="1221"/>
                    <a:pt x="361" y="1211"/>
                    <a:pt x="361" y="1199"/>
                  </a:cubicBezTo>
                  <a:cubicBezTo>
                    <a:pt x="361" y="1195"/>
                    <a:pt x="360" y="1192"/>
                    <a:pt x="358" y="1189"/>
                  </a:cubicBezTo>
                  <a:cubicBezTo>
                    <a:pt x="442" y="1116"/>
                    <a:pt x="442" y="1116"/>
                    <a:pt x="442" y="1116"/>
                  </a:cubicBezTo>
                  <a:cubicBezTo>
                    <a:pt x="540" y="1116"/>
                    <a:pt x="540" y="1116"/>
                    <a:pt x="540" y="1116"/>
                  </a:cubicBezTo>
                  <a:cubicBezTo>
                    <a:pt x="496" y="1154"/>
                    <a:pt x="496" y="1154"/>
                    <a:pt x="496" y="1154"/>
                  </a:cubicBezTo>
                  <a:cubicBezTo>
                    <a:pt x="496" y="1229"/>
                    <a:pt x="496" y="1229"/>
                    <a:pt x="496" y="1229"/>
                  </a:cubicBezTo>
                  <a:cubicBezTo>
                    <a:pt x="474" y="1248"/>
                    <a:pt x="474" y="1248"/>
                    <a:pt x="474" y="1248"/>
                  </a:cubicBezTo>
                  <a:cubicBezTo>
                    <a:pt x="363" y="1248"/>
                    <a:pt x="363" y="1248"/>
                    <a:pt x="363" y="1248"/>
                  </a:cubicBezTo>
                  <a:cubicBezTo>
                    <a:pt x="329" y="1278"/>
                    <a:pt x="329" y="1278"/>
                    <a:pt x="329" y="1278"/>
                  </a:cubicBezTo>
                  <a:cubicBezTo>
                    <a:pt x="326" y="1276"/>
                    <a:pt x="322" y="1275"/>
                    <a:pt x="318" y="1275"/>
                  </a:cubicBezTo>
                  <a:cubicBezTo>
                    <a:pt x="305" y="1275"/>
                    <a:pt x="295" y="1285"/>
                    <a:pt x="295" y="1297"/>
                  </a:cubicBezTo>
                  <a:cubicBezTo>
                    <a:pt x="295" y="1309"/>
                    <a:pt x="305" y="1319"/>
                    <a:pt x="318" y="1319"/>
                  </a:cubicBezTo>
                  <a:cubicBezTo>
                    <a:pt x="330" y="1319"/>
                    <a:pt x="340" y="1309"/>
                    <a:pt x="340" y="1297"/>
                  </a:cubicBezTo>
                  <a:cubicBezTo>
                    <a:pt x="340" y="1294"/>
                    <a:pt x="339" y="1290"/>
                    <a:pt x="337" y="1287"/>
                  </a:cubicBezTo>
                  <a:cubicBezTo>
                    <a:pt x="368" y="1261"/>
                    <a:pt x="368" y="1261"/>
                    <a:pt x="368" y="1261"/>
                  </a:cubicBezTo>
                  <a:cubicBezTo>
                    <a:pt x="459" y="1261"/>
                    <a:pt x="459" y="1261"/>
                    <a:pt x="459" y="1261"/>
                  </a:cubicBezTo>
                  <a:cubicBezTo>
                    <a:pt x="412" y="1302"/>
                    <a:pt x="412" y="1302"/>
                    <a:pt x="412" y="1302"/>
                  </a:cubicBezTo>
                  <a:cubicBezTo>
                    <a:pt x="408" y="1300"/>
                    <a:pt x="404" y="1298"/>
                    <a:pt x="399" y="1298"/>
                  </a:cubicBezTo>
                  <a:cubicBezTo>
                    <a:pt x="387" y="1298"/>
                    <a:pt x="377" y="1308"/>
                    <a:pt x="377" y="1320"/>
                  </a:cubicBezTo>
                  <a:cubicBezTo>
                    <a:pt x="377" y="1333"/>
                    <a:pt x="387" y="1342"/>
                    <a:pt x="399" y="1342"/>
                  </a:cubicBezTo>
                  <a:cubicBezTo>
                    <a:pt x="411" y="1342"/>
                    <a:pt x="421" y="1333"/>
                    <a:pt x="421" y="1320"/>
                  </a:cubicBezTo>
                  <a:cubicBezTo>
                    <a:pt x="421" y="1317"/>
                    <a:pt x="421" y="1314"/>
                    <a:pt x="420" y="1312"/>
                  </a:cubicBezTo>
                  <a:cubicBezTo>
                    <a:pt x="508" y="1234"/>
                    <a:pt x="508" y="1234"/>
                    <a:pt x="508" y="1234"/>
                  </a:cubicBezTo>
                  <a:cubicBezTo>
                    <a:pt x="508" y="1160"/>
                    <a:pt x="508" y="1160"/>
                    <a:pt x="508" y="1160"/>
                  </a:cubicBezTo>
                  <a:cubicBezTo>
                    <a:pt x="592" y="1087"/>
                    <a:pt x="592" y="1087"/>
                    <a:pt x="592" y="1087"/>
                  </a:cubicBezTo>
                  <a:cubicBezTo>
                    <a:pt x="592" y="1199"/>
                    <a:pt x="592" y="1199"/>
                    <a:pt x="592" y="1199"/>
                  </a:cubicBezTo>
                  <a:cubicBezTo>
                    <a:pt x="419" y="1350"/>
                    <a:pt x="419" y="1350"/>
                    <a:pt x="419" y="1350"/>
                  </a:cubicBezTo>
                  <a:cubicBezTo>
                    <a:pt x="416" y="1347"/>
                    <a:pt x="411" y="1345"/>
                    <a:pt x="406" y="1345"/>
                  </a:cubicBezTo>
                  <a:cubicBezTo>
                    <a:pt x="394" y="1345"/>
                    <a:pt x="384" y="1355"/>
                    <a:pt x="384" y="1367"/>
                  </a:cubicBezTo>
                  <a:cubicBezTo>
                    <a:pt x="384" y="1379"/>
                    <a:pt x="394" y="1389"/>
                    <a:pt x="406" y="1389"/>
                  </a:cubicBezTo>
                  <a:cubicBezTo>
                    <a:pt x="418" y="1389"/>
                    <a:pt x="428" y="1379"/>
                    <a:pt x="428" y="1367"/>
                  </a:cubicBezTo>
                  <a:cubicBezTo>
                    <a:pt x="428" y="1364"/>
                    <a:pt x="427" y="1362"/>
                    <a:pt x="427" y="1360"/>
                  </a:cubicBezTo>
                  <a:cubicBezTo>
                    <a:pt x="605" y="1205"/>
                    <a:pt x="605" y="1205"/>
                    <a:pt x="605" y="1205"/>
                  </a:cubicBezTo>
                  <a:cubicBezTo>
                    <a:pt x="605" y="1076"/>
                    <a:pt x="605" y="1076"/>
                    <a:pt x="605" y="1076"/>
                  </a:cubicBezTo>
                  <a:cubicBezTo>
                    <a:pt x="671" y="1018"/>
                    <a:pt x="671" y="1018"/>
                    <a:pt x="671" y="1018"/>
                  </a:cubicBezTo>
                  <a:cubicBezTo>
                    <a:pt x="671" y="1198"/>
                    <a:pt x="671" y="1198"/>
                    <a:pt x="671" y="1198"/>
                  </a:cubicBezTo>
                  <a:cubicBezTo>
                    <a:pt x="569" y="1287"/>
                    <a:pt x="569" y="1287"/>
                    <a:pt x="569" y="1287"/>
                  </a:cubicBezTo>
                  <a:cubicBezTo>
                    <a:pt x="569" y="1311"/>
                    <a:pt x="569" y="1311"/>
                    <a:pt x="569" y="1311"/>
                  </a:cubicBezTo>
                  <a:cubicBezTo>
                    <a:pt x="514" y="1359"/>
                    <a:pt x="514" y="1359"/>
                    <a:pt x="514" y="1359"/>
                  </a:cubicBezTo>
                  <a:cubicBezTo>
                    <a:pt x="511" y="1358"/>
                    <a:pt x="507" y="1357"/>
                    <a:pt x="503" y="1357"/>
                  </a:cubicBezTo>
                  <a:cubicBezTo>
                    <a:pt x="491" y="1357"/>
                    <a:pt x="481" y="1367"/>
                    <a:pt x="481" y="1379"/>
                  </a:cubicBezTo>
                  <a:cubicBezTo>
                    <a:pt x="481" y="1391"/>
                    <a:pt x="491" y="1401"/>
                    <a:pt x="503" y="1401"/>
                  </a:cubicBezTo>
                  <a:cubicBezTo>
                    <a:pt x="515" y="1401"/>
                    <a:pt x="525" y="1391"/>
                    <a:pt x="525" y="1379"/>
                  </a:cubicBezTo>
                  <a:cubicBezTo>
                    <a:pt x="525" y="1375"/>
                    <a:pt x="524" y="1371"/>
                    <a:pt x="523" y="1368"/>
                  </a:cubicBezTo>
                  <a:cubicBezTo>
                    <a:pt x="581" y="1317"/>
                    <a:pt x="581" y="1317"/>
                    <a:pt x="581" y="1317"/>
                  </a:cubicBezTo>
                  <a:cubicBezTo>
                    <a:pt x="581" y="1293"/>
                    <a:pt x="581" y="1293"/>
                    <a:pt x="581" y="1293"/>
                  </a:cubicBezTo>
                  <a:cubicBezTo>
                    <a:pt x="671" y="1214"/>
                    <a:pt x="671" y="1214"/>
                    <a:pt x="671" y="1214"/>
                  </a:cubicBezTo>
                  <a:cubicBezTo>
                    <a:pt x="671" y="1288"/>
                    <a:pt x="671" y="1288"/>
                    <a:pt x="671" y="1288"/>
                  </a:cubicBezTo>
                  <a:cubicBezTo>
                    <a:pt x="568" y="1378"/>
                    <a:pt x="568" y="1378"/>
                    <a:pt x="568" y="1378"/>
                  </a:cubicBezTo>
                  <a:cubicBezTo>
                    <a:pt x="564" y="1376"/>
                    <a:pt x="560" y="1374"/>
                    <a:pt x="555" y="1374"/>
                  </a:cubicBezTo>
                  <a:cubicBezTo>
                    <a:pt x="543" y="1374"/>
                    <a:pt x="533" y="1384"/>
                    <a:pt x="533" y="1396"/>
                  </a:cubicBezTo>
                  <a:cubicBezTo>
                    <a:pt x="533" y="1408"/>
                    <a:pt x="543" y="1418"/>
                    <a:pt x="555" y="1418"/>
                  </a:cubicBezTo>
                  <a:cubicBezTo>
                    <a:pt x="567" y="1418"/>
                    <a:pt x="577" y="1408"/>
                    <a:pt x="577" y="1396"/>
                  </a:cubicBezTo>
                  <a:cubicBezTo>
                    <a:pt x="577" y="1393"/>
                    <a:pt x="576" y="1391"/>
                    <a:pt x="576" y="1388"/>
                  </a:cubicBezTo>
                  <a:cubicBezTo>
                    <a:pt x="684" y="1294"/>
                    <a:pt x="684" y="1294"/>
                    <a:pt x="684" y="1294"/>
                  </a:cubicBezTo>
                  <a:lnTo>
                    <a:pt x="684" y="238"/>
                  </a:lnTo>
                  <a:close/>
                  <a:moveTo>
                    <a:pt x="557" y="22"/>
                  </a:moveTo>
                  <a:cubicBezTo>
                    <a:pt x="557" y="17"/>
                    <a:pt x="561" y="13"/>
                    <a:pt x="566" y="13"/>
                  </a:cubicBezTo>
                  <a:cubicBezTo>
                    <a:pt x="572" y="13"/>
                    <a:pt x="576" y="17"/>
                    <a:pt x="576" y="22"/>
                  </a:cubicBezTo>
                  <a:cubicBezTo>
                    <a:pt x="576" y="28"/>
                    <a:pt x="572" y="32"/>
                    <a:pt x="566" y="32"/>
                  </a:cubicBezTo>
                  <a:cubicBezTo>
                    <a:pt x="561" y="32"/>
                    <a:pt x="557" y="28"/>
                    <a:pt x="557" y="22"/>
                  </a:cubicBezTo>
                  <a:close/>
                  <a:moveTo>
                    <a:pt x="482" y="128"/>
                  </a:moveTo>
                  <a:cubicBezTo>
                    <a:pt x="482" y="122"/>
                    <a:pt x="486" y="118"/>
                    <a:pt x="492" y="118"/>
                  </a:cubicBezTo>
                  <a:cubicBezTo>
                    <a:pt x="497" y="118"/>
                    <a:pt x="501" y="122"/>
                    <a:pt x="501" y="128"/>
                  </a:cubicBezTo>
                  <a:cubicBezTo>
                    <a:pt x="501" y="133"/>
                    <a:pt x="497" y="137"/>
                    <a:pt x="492" y="137"/>
                  </a:cubicBezTo>
                  <a:cubicBezTo>
                    <a:pt x="486" y="137"/>
                    <a:pt x="482" y="133"/>
                    <a:pt x="482" y="128"/>
                  </a:cubicBezTo>
                  <a:close/>
                  <a:moveTo>
                    <a:pt x="556" y="130"/>
                  </a:moveTo>
                  <a:cubicBezTo>
                    <a:pt x="556" y="125"/>
                    <a:pt x="561" y="121"/>
                    <a:pt x="566" y="121"/>
                  </a:cubicBezTo>
                  <a:cubicBezTo>
                    <a:pt x="572" y="121"/>
                    <a:pt x="576" y="125"/>
                    <a:pt x="576" y="130"/>
                  </a:cubicBezTo>
                  <a:cubicBezTo>
                    <a:pt x="576" y="136"/>
                    <a:pt x="572" y="140"/>
                    <a:pt x="566" y="140"/>
                  </a:cubicBezTo>
                  <a:cubicBezTo>
                    <a:pt x="561" y="140"/>
                    <a:pt x="556" y="136"/>
                    <a:pt x="556" y="130"/>
                  </a:cubicBezTo>
                  <a:close/>
                  <a:moveTo>
                    <a:pt x="611" y="275"/>
                  </a:moveTo>
                  <a:cubicBezTo>
                    <a:pt x="611" y="270"/>
                    <a:pt x="615" y="266"/>
                    <a:pt x="621" y="266"/>
                  </a:cubicBezTo>
                  <a:cubicBezTo>
                    <a:pt x="626" y="266"/>
                    <a:pt x="630" y="270"/>
                    <a:pt x="630" y="275"/>
                  </a:cubicBezTo>
                  <a:cubicBezTo>
                    <a:pt x="630" y="281"/>
                    <a:pt x="626" y="285"/>
                    <a:pt x="621" y="285"/>
                  </a:cubicBezTo>
                  <a:cubicBezTo>
                    <a:pt x="615" y="285"/>
                    <a:pt x="611" y="281"/>
                    <a:pt x="611" y="275"/>
                  </a:cubicBezTo>
                  <a:close/>
                  <a:moveTo>
                    <a:pt x="396" y="119"/>
                  </a:moveTo>
                  <a:cubicBezTo>
                    <a:pt x="396" y="113"/>
                    <a:pt x="401" y="109"/>
                    <a:pt x="406" y="109"/>
                  </a:cubicBezTo>
                  <a:cubicBezTo>
                    <a:pt x="411" y="109"/>
                    <a:pt x="416" y="113"/>
                    <a:pt x="416" y="119"/>
                  </a:cubicBezTo>
                  <a:cubicBezTo>
                    <a:pt x="416" y="124"/>
                    <a:pt x="411" y="128"/>
                    <a:pt x="406" y="128"/>
                  </a:cubicBezTo>
                  <a:cubicBezTo>
                    <a:pt x="401" y="128"/>
                    <a:pt x="396" y="124"/>
                    <a:pt x="396" y="119"/>
                  </a:cubicBezTo>
                  <a:close/>
                  <a:moveTo>
                    <a:pt x="318" y="182"/>
                  </a:moveTo>
                  <a:cubicBezTo>
                    <a:pt x="318" y="177"/>
                    <a:pt x="322" y="173"/>
                    <a:pt x="328" y="173"/>
                  </a:cubicBezTo>
                  <a:cubicBezTo>
                    <a:pt x="333" y="173"/>
                    <a:pt x="338" y="177"/>
                    <a:pt x="338" y="182"/>
                  </a:cubicBezTo>
                  <a:cubicBezTo>
                    <a:pt x="338" y="188"/>
                    <a:pt x="333" y="192"/>
                    <a:pt x="328" y="192"/>
                  </a:cubicBezTo>
                  <a:cubicBezTo>
                    <a:pt x="322" y="192"/>
                    <a:pt x="318" y="188"/>
                    <a:pt x="318" y="182"/>
                  </a:cubicBezTo>
                  <a:close/>
                  <a:moveTo>
                    <a:pt x="205" y="261"/>
                  </a:moveTo>
                  <a:cubicBezTo>
                    <a:pt x="200" y="261"/>
                    <a:pt x="195" y="257"/>
                    <a:pt x="195" y="251"/>
                  </a:cubicBezTo>
                  <a:cubicBezTo>
                    <a:pt x="195" y="246"/>
                    <a:pt x="200" y="242"/>
                    <a:pt x="205" y="242"/>
                  </a:cubicBezTo>
                  <a:cubicBezTo>
                    <a:pt x="210" y="242"/>
                    <a:pt x="215" y="246"/>
                    <a:pt x="215" y="251"/>
                  </a:cubicBezTo>
                  <a:cubicBezTo>
                    <a:pt x="215" y="257"/>
                    <a:pt x="210" y="261"/>
                    <a:pt x="205" y="261"/>
                  </a:cubicBezTo>
                  <a:close/>
                  <a:moveTo>
                    <a:pt x="226" y="317"/>
                  </a:moveTo>
                  <a:cubicBezTo>
                    <a:pt x="221" y="317"/>
                    <a:pt x="216" y="312"/>
                    <a:pt x="216" y="307"/>
                  </a:cubicBezTo>
                  <a:cubicBezTo>
                    <a:pt x="216" y="302"/>
                    <a:pt x="221" y="297"/>
                    <a:pt x="226" y="297"/>
                  </a:cubicBezTo>
                  <a:cubicBezTo>
                    <a:pt x="231" y="297"/>
                    <a:pt x="236" y="302"/>
                    <a:pt x="236" y="307"/>
                  </a:cubicBezTo>
                  <a:cubicBezTo>
                    <a:pt x="236" y="312"/>
                    <a:pt x="231" y="317"/>
                    <a:pt x="226" y="317"/>
                  </a:cubicBezTo>
                  <a:close/>
                  <a:moveTo>
                    <a:pt x="550" y="641"/>
                  </a:moveTo>
                  <a:cubicBezTo>
                    <a:pt x="550" y="636"/>
                    <a:pt x="554" y="632"/>
                    <a:pt x="560" y="632"/>
                  </a:cubicBezTo>
                  <a:cubicBezTo>
                    <a:pt x="565" y="632"/>
                    <a:pt x="569" y="636"/>
                    <a:pt x="569" y="641"/>
                  </a:cubicBezTo>
                  <a:cubicBezTo>
                    <a:pt x="569" y="647"/>
                    <a:pt x="565" y="651"/>
                    <a:pt x="560" y="651"/>
                  </a:cubicBezTo>
                  <a:cubicBezTo>
                    <a:pt x="554" y="651"/>
                    <a:pt x="550" y="647"/>
                    <a:pt x="550" y="641"/>
                  </a:cubicBezTo>
                  <a:close/>
                  <a:moveTo>
                    <a:pt x="294" y="381"/>
                  </a:moveTo>
                  <a:cubicBezTo>
                    <a:pt x="294" y="375"/>
                    <a:pt x="298" y="371"/>
                    <a:pt x="303" y="371"/>
                  </a:cubicBezTo>
                  <a:cubicBezTo>
                    <a:pt x="309" y="371"/>
                    <a:pt x="313" y="375"/>
                    <a:pt x="313" y="381"/>
                  </a:cubicBezTo>
                  <a:cubicBezTo>
                    <a:pt x="313" y="386"/>
                    <a:pt x="309" y="390"/>
                    <a:pt x="303" y="390"/>
                  </a:cubicBezTo>
                  <a:cubicBezTo>
                    <a:pt x="298" y="390"/>
                    <a:pt x="294" y="386"/>
                    <a:pt x="294" y="381"/>
                  </a:cubicBezTo>
                  <a:close/>
                  <a:moveTo>
                    <a:pt x="81" y="428"/>
                  </a:moveTo>
                  <a:cubicBezTo>
                    <a:pt x="76" y="428"/>
                    <a:pt x="72" y="424"/>
                    <a:pt x="72" y="419"/>
                  </a:cubicBezTo>
                  <a:cubicBezTo>
                    <a:pt x="72" y="413"/>
                    <a:pt x="76" y="409"/>
                    <a:pt x="81" y="409"/>
                  </a:cubicBezTo>
                  <a:cubicBezTo>
                    <a:pt x="87" y="409"/>
                    <a:pt x="91" y="413"/>
                    <a:pt x="91" y="419"/>
                  </a:cubicBezTo>
                  <a:cubicBezTo>
                    <a:pt x="91" y="424"/>
                    <a:pt x="87" y="428"/>
                    <a:pt x="81" y="428"/>
                  </a:cubicBezTo>
                  <a:close/>
                  <a:moveTo>
                    <a:pt x="143" y="496"/>
                  </a:moveTo>
                  <a:cubicBezTo>
                    <a:pt x="138" y="496"/>
                    <a:pt x="133" y="492"/>
                    <a:pt x="133" y="487"/>
                  </a:cubicBezTo>
                  <a:cubicBezTo>
                    <a:pt x="133" y="481"/>
                    <a:pt x="138" y="477"/>
                    <a:pt x="143" y="477"/>
                  </a:cubicBezTo>
                  <a:cubicBezTo>
                    <a:pt x="148" y="477"/>
                    <a:pt x="152" y="480"/>
                    <a:pt x="153" y="485"/>
                  </a:cubicBezTo>
                  <a:cubicBezTo>
                    <a:pt x="153" y="489"/>
                    <a:pt x="153" y="489"/>
                    <a:pt x="153" y="489"/>
                  </a:cubicBezTo>
                  <a:cubicBezTo>
                    <a:pt x="152" y="493"/>
                    <a:pt x="148" y="496"/>
                    <a:pt x="143" y="496"/>
                  </a:cubicBezTo>
                  <a:close/>
                  <a:moveTo>
                    <a:pt x="325" y="567"/>
                  </a:moveTo>
                  <a:cubicBezTo>
                    <a:pt x="325" y="561"/>
                    <a:pt x="329" y="557"/>
                    <a:pt x="334" y="557"/>
                  </a:cubicBezTo>
                  <a:cubicBezTo>
                    <a:pt x="340" y="557"/>
                    <a:pt x="344" y="561"/>
                    <a:pt x="344" y="567"/>
                  </a:cubicBezTo>
                  <a:cubicBezTo>
                    <a:pt x="344" y="572"/>
                    <a:pt x="340" y="577"/>
                    <a:pt x="334" y="577"/>
                  </a:cubicBezTo>
                  <a:cubicBezTo>
                    <a:pt x="329" y="577"/>
                    <a:pt x="325" y="572"/>
                    <a:pt x="325" y="567"/>
                  </a:cubicBezTo>
                  <a:close/>
                  <a:moveTo>
                    <a:pt x="117" y="581"/>
                  </a:moveTo>
                  <a:cubicBezTo>
                    <a:pt x="111" y="581"/>
                    <a:pt x="107" y="577"/>
                    <a:pt x="107" y="571"/>
                  </a:cubicBezTo>
                  <a:cubicBezTo>
                    <a:pt x="107" y="566"/>
                    <a:pt x="111" y="562"/>
                    <a:pt x="117" y="562"/>
                  </a:cubicBezTo>
                  <a:cubicBezTo>
                    <a:pt x="122" y="562"/>
                    <a:pt x="126" y="566"/>
                    <a:pt x="126" y="571"/>
                  </a:cubicBezTo>
                  <a:cubicBezTo>
                    <a:pt x="126" y="577"/>
                    <a:pt x="122" y="581"/>
                    <a:pt x="117" y="581"/>
                  </a:cubicBezTo>
                  <a:close/>
                  <a:moveTo>
                    <a:pt x="22" y="745"/>
                  </a:moveTo>
                  <a:cubicBezTo>
                    <a:pt x="17" y="745"/>
                    <a:pt x="12" y="741"/>
                    <a:pt x="12" y="735"/>
                  </a:cubicBezTo>
                  <a:cubicBezTo>
                    <a:pt x="12" y="730"/>
                    <a:pt x="17" y="726"/>
                    <a:pt x="22" y="726"/>
                  </a:cubicBezTo>
                  <a:cubicBezTo>
                    <a:pt x="27" y="726"/>
                    <a:pt x="32" y="730"/>
                    <a:pt x="32" y="735"/>
                  </a:cubicBezTo>
                  <a:cubicBezTo>
                    <a:pt x="32" y="741"/>
                    <a:pt x="27" y="745"/>
                    <a:pt x="22" y="745"/>
                  </a:cubicBezTo>
                  <a:close/>
                  <a:moveTo>
                    <a:pt x="99" y="688"/>
                  </a:moveTo>
                  <a:cubicBezTo>
                    <a:pt x="93" y="688"/>
                    <a:pt x="89" y="684"/>
                    <a:pt x="89" y="678"/>
                  </a:cubicBezTo>
                  <a:cubicBezTo>
                    <a:pt x="89" y="673"/>
                    <a:pt x="93" y="669"/>
                    <a:pt x="99" y="669"/>
                  </a:cubicBezTo>
                  <a:cubicBezTo>
                    <a:pt x="104" y="669"/>
                    <a:pt x="108" y="673"/>
                    <a:pt x="108" y="678"/>
                  </a:cubicBezTo>
                  <a:cubicBezTo>
                    <a:pt x="108" y="684"/>
                    <a:pt x="104" y="688"/>
                    <a:pt x="99" y="688"/>
                  </a:cubicBezTo>
                  <a:close/>
                  <a:moveTo>
                    <a:pt x="42" y="798"/>
                  </a:moveTo>
                  <a:cubicBezTo>
                    <a:pt x="36" y="798"/>
                    <a:pt x="32" y="794"/>
                    <a:pt x="32" y="788"/>
                  </a:cubicBezTo>
                  <a:cubicBezTo>
                    <a:pt x="32" y="783"/>
                    <a:pt x="36" y="779"/>
                    <a:pt x="42" y="779"/>
                  </a:cubicBezTo>
                  <a:cubicBezTo>
                    <a:pt x="47" y="779"/>
                    <a:pt x="51" y="783"/>
                    <a:pt x="51" y="788"/>
                  </a:cubicBezTo>
                  <a:cubicBezTo>
                    <a:pt x="51" y="794"/>
                    <a:pt x="47" y="798"/>
                    <a:pt x="42" y="798"/>
                  </a:cubicBezTo>
                  <a:close/>
                  <a:moveTo>
                    <a:pt x="282" y="898"/>
                  </a:moveTo>
                  <a:cubicBezTo>
                    <a:pt x="277" y="897"/>
                    <a:pt x="274" y="892"/>
                    <a:pt x="275" y="887"/>
                  </a:cubicBezTo>
                  <a:cubicBezTo>
                    <a:pt x="276" y="882"/>
                    <a:pt x="280" y="879"/>
                    <a:pt x="285" y="879"/>
                  </a:cubicBezTo>
                  <a:cubicBezTo>
                    <a:pt x="285" y="879"/>
                    <a:pt x="286" y="879"/>
                    <a:pt x="287" y="880"/>
                  </a:cubicBezTo>
                  <a:cubicBezTo>
                    <a:pt x="292" y="881"/>
                    <a:pt x="295" y="886"/>
                    <a:pt x="294" y="891"/>
                  </a:cubicBezTo>
                  <a:cubicBezTo>
                    <a:pt x="293" y="896"/>
                    <a:pt x="287" y="900"/>
                    <a:pt x="282" y="898"/>
                  </a:cubicBezTo>
                  <a:close/>
                  <a:moveTo>
                    <a:pt x="76" y="1004"/>
                  </a:moveTo>
                  <a:cubicBezTo>
                    <a:pt x="71" y="1004"/>
                    <a:pt x="67" y="999"/>
                    <a:pt x="67" y="994"/>
                  </a:cubicBezTo>
                  <a:cubicBezTo>
                    <a:pt x="67" y="989"/>
                    <a:pt x="71" y="984"/>
                    <a:pt x="76" y="984"/>
                  </a:cubicBezTo>
                  <a:cubicBezTo>
                    <a:pt x="82" y="984"/>
                    <a:pt x="86" y="989"/>
                    <a:pt x="86" y="994"/>
                  </a:cubicBezTo>
                  <a:cubicBezTo>
                    <a:pt x="86" y="999"/>
                    <a:pt x="82" y="1004"/>
                    <a:pt x="76" y="1004"/>
                  </a:cubicBezTo>
                  <a:close/>
                  <a:moveTo>
                    <a:pt x="99" y="1070"/>
                  </a:moveTo>
                  <a:cubicBezTo>
                    <a:pt x="93" y="1070"/>
                    <a:pt x="89" y="1065"/>
                    <a:pt x="89" y="1060"/>
                  </a:cubicBezTo>
                  <a:cubicBezTo>
                    <a:pt x="89" y="1055"/>
                    <a:pt x="93" y="1050"/>
                    <a:pt x="99" y="1050"/>
                  </a:cubicBezTo>
                  <a:cubicBezTo>
                    <a:pt x="104" y="1050"/>
                    <a:pt x="108" y="1055"/>
                    <a:pt x="108" y="1060"/>
                  </a:cubicBezTo>
                  <a:cubicBezTo>
                    <a:pt x="108" y="1065"/>
                    <a:pt x="104" y="1070"/>
                    <a:pt x="99" y="1070"/>
                  </a:cubicBezTo>
                  <a:close/>
                  <a:moveTo>
                    <a:pt x="100" y="1120"/>
                  </a:moveTo>
                  <a:cubicBezTo>
                    <a:pt x="95" y="1120"/>
                    <a:pt x="91" y="1115"/>
                    <a:pt x="91" y="1110"/>
                  </a:cubicBezTo>
                  <a:cubicBezTo>
                    <a:pt x="91" y="1105"/>
                    <a:pt x="95" y="1100"/>
                    <a:pt x="100" y="1100"/>
                  </a:cubicBezTo>
                  <a:cubicBezTo>
                    <a:pt x="106" y="1100"/>
                    <a:pt x="110" y="1105"/>
                    <a:pt x="110" y="1110"/>
                  </a:cubicBezTo>
                  <a:cubicBezTo>
                    <a:pt x="110" y="1115"/>
                    <a:pt x="106" y="1120"/>
                    <a:pt x="100" y="1120"/>
                  </a:cubicBezTo>
                  <a:close/>
                  <a:moveTo>
                    <a:pt x="232" y="1181"/>
                  </a:moveTo>
                  <a:cubicBezTo>
                    <a:pt x="227" y="1181"/>
                    <a:pt x="222" y="1177"/>
                    <a:pt x="222" y="1171"/>
                  </a:cubicBezTo>
                  <a:cubicBezTo>
                    <a:pt x="222" y="1166"/>
                    <a:pt x="227" y="1162"/>
                    <a:pt x="232" y="1162"/>
                  </a:cubicBezTo>
                  <a:cubicBezTo>
                    <a:pt x="237" y="1162"/>
                    <a:pt x="242" y="1166"/>
                    <a:pt x="242" y="1171"/>
                  </a:cubicBezTo>
                  <a:cubicBezTo>
                    <a:pt x="242" y="1177"/>
                    <a:pt x="237" y="1181"/>
                    <a:pt x="232" y="1181"/>
                  </a:cubicBezTo>
                  <a:close/>
                  <a:moveTo>
                    <a:pt x="207" y="1254"/>
                  </a:moveTo>
                  <a:cubicBezTo>
                    <a:pt x="201" y="1254"/>
                    <a:pt x="197" y="1250"/>
                    <a:pt x="197" y="1245"/>
                  </a:cubicBezTo>
                  <a:cubicBezTo>
                    <a:pt x="197" y="1239"/>
                    <a:pt x="201" y="1235"/>
                    <a:pt x="207" y="1235"/>
                  </a:cubicBezTo>
                  <a:cubicBezTo>
                    <a:pt x="212" y="1235"/>
                    <a:pt x="217" y="1239"/>
                    <a:pt x="217" y="1245"/>
                  </a:cubicBezTo>
                  <a:cubicBezTo>
                    <a:pt x="217" y="1250"/>
                    <a:pt x="212" y="1254"/>
                    <a:pt x="207" y="1254"/>
                  </a:cubicBezTo>
                  <a:close/>
                  <a:moveTo>
                    <a:pt x="491" y="1078"/>
                  </a:moveTo>
                  <a:cubicBezTo>
                    <a:pt x="485" y="1078"/>
                    <a:pt x="481" y="1074"/>
                    <a:pt x="481" y="1068"/>
                  </a:cubicBezTo>
                  <a:cubicBezTo>
                    <a:pt x="481" y="1063"/>
                    <a:pt x="485" y="1059"/>
                    <a:pt x="491" y="1059"/>
                  </a:cubicBezTo>
                  <a:cubicBezTo>
                    <a:pt x="496" y="1059"/>
                    <a:pt x="500" y="1063"/>
                    <a:pt x="500" y="1068"/>
                  </a:cubicBezTo>
                  <a:cubicBezTo>
                    <a:pt x="500" y="1074"/>
                    <a:pt x="496" y="1078"/>
                    <a:pt x="491" y="1078"/>
                  </a:cubicBezTo>
                  <a:close/>
                  <a:moveTo>
                    <a:pt x="590" y="1049"/>
                  </a:moveTo>
                  <a:cubicBezTo>
                    <a:pt x="584" y="1049"/>
                    <a:pt x="580" y="1044"/>
                    <a:pt x="580" y="1039"/>
                  </a:cubicBezTo>
                  <a:cubicBezTo>
                    <a:pt x="580" y="1034"/>
                    <a:pt x="584" y="1029"/>
                    <a:pt x="590" y="1029"/>
                  </a:cubicBezTo>
                  <a:cubicBezTo>
                    <a:pt x="595" y="1029"/>
                    <a:pt x="599" y="1034"/>
                    <a:pt x="599" y="1039"/>
                  </a:cubicBezTo>
                  <a:cubicBezTo>
                    <a:pt x="599" y="1044"/>
                    <a:pt x="595" y="1049"/>
                    <a:pt x="590" y="1049"/>
                  </a:cubicBezTo>
                  <a:close/>
                  <a:moveTo>
                    <a:pt x="611" y="955"/>
                  </a:moveTo>
                  <a:cubicBezTo>
                    <a:pt x="606" y="955"/>
                    <a:pt x="601" y="951"/>
                    <a:pt x="601" y="946"/>
                  </a:cubicBezTo>
                  <a:cubicBezTo>
                    <a:pt x="601" y="940"/>
                    <a:pt x="606" y="936"/>
                    <a:pt x="611" y="936"/>
                  </a:cubicBezTo>
                  <a:cubicBezTo>
                    <a:pt x="616" y="936"/>
                    <a:pt x="621" y="940"/>
                    <a:pt x="621" y="946"/>
                  </a:cubicBezTo>
                  <a:cubicBezTo>
                    <a:pt x="621" y="951"/>
                    <a:pt x="616" y="955"/>
                    <a:pt x="611" y="955"/>
                  </a:cubicBezTo>
                  <a:close/>
                  <a:moveTo>
                    <a:pt x="339" y="1209"/>
                  </a:moveTo>
                  <a:cubicBezTo>
                    <a:pt x="333" y="1209"/>
                    <a:pt x="329" y="1204"/>
                    <a:pt x="329" y="1199"/>
                  </a:cubicBezTo>
                  <a:cubicBezTo>
                    <a:pt x="329" y="1194"/>
                    <a:pt x="333" y="1189"/>
                    <a:pt x="339" y="1189"/>
                  </a:cubicBezTo>
                  <a:cubicBezTo>
                    <a:pt x="344" y="1189"/>
                    <a:pt x="348" y="1194"/>
                    <a:pt x="348" y="1199"/>
                  </a:cubicBezTo>
                  <a:cubicBezTo>
                    <a:pt x="348" y="1204"/>
                    <a:pt x="344" y="1209"/>
                    <a:pt x="339" y="1209"/>
                  </a:cubicBezTo>
                  <a:close/>
                  <a:moveTo>
                    <a:pt x="318" y="1307"/>
                  </a:moveTo>
                  <a:cubicBezTo>
                    <a:pt x="312" y="1307"/>
                    <a:pt x="308" y="1302"/>
                    <a:pt x="308" y="1297"/>
                  </a:cubicBezTo>
                  <a:cubicBezTo>
                    <a:pt x="308" y="1292"/>
                    <a:pt x="312" y="1287"/>
                    <a:pt x="318" y="1287"/>
                  </a:cubicBezTo>
                  <a:cubicBezTo>
                    <a:pt x="323" y="1287"/>
                    <a:pt x="327" y="1292"/>
                    <a:pt x="327" y="1297"/>
                  </a:cubicBezTo>
                  <a:cubicBezTo>
                    <a:pt x="327" y="1302"/>
                    <a:pt x="323" y="1307"/>
                    <a:pt x="318" y="1307"/>
                  </a:cubicBezTo>
                  <a:close/>
                  <a:moveTo>
                    <a:pt x="399" y="1330"/>
                  </a:moveTo>
                  <a:cubicBezTo>
                    <a:pt x="394" y="1330"/>
                    <a:pt x="389" y="1326"/>
                    <a:pt x="389" y="1320"/>
                  </a:cubicBezTo>
                  <a:cubicBezTo>
                    <a:pt x="389" y="1315"/>
                    <a:pt x="394" y="1311"/>
                    <a:pt x="399" y="1311"/>
                  </a:cubicBezTo>
                  <a:cubicBezTo>
                    <a:pt x="405" y="1311"/>
                    <a:pt x="409" y="1315"/>
                    <a:pt x="409" y="1320"/>
                  </a:cubicBezTo>
                  <a:cubicBezTo>
                    <a:pt x="409" y="1326"/>
                    <a:pt x="405" y="1330"/>
                    <a:pt x="399" y="1330"/>
                  </a:cubicBezTo>
                  <a:close/>
                  <a:moveTo>
                    <a:pt x="406" y="1377"/>
                  </a:moveTo>
                  <a:cubicBezTo>
                    <a:pt x="400" y="1377"/>
                    <a:pt x="396" y="1372"/>
                    <a:pt x="396" y="1367"/>
                  </a:cubicBezTo>
                  <a:cubicBezTo>
                    <a:pt x="396" y="1362"/>
                    <a:pt x="400" y="1357"/>
                    <a:pt x="406" y="1357"/>
                  </a:cubicBezTo>
                  <a:cubicBezTo>
                    <a:pt x="411" y="1357"/>
                    <a:pt x="416" y="1362"/>
                    <a:pt x="416" y="1367"/>
                  </a:cubicBezTo>
                  <a:cubicBezTo>
                    <a:pt x="416" y="1372"/>
                    <a:pt x="411" y="1377"/>
                    <a:pt x="406" y="1377"/>
                  </a:cubicBezTo>
                  <a:close/>
                  <a:moveTo>
                    <a:pt x="503" y="1388"/>
                  </a:moveTo>
                  <a:cubicBezTo>
                    <a:pt x="498" y="1388"/>
                    <a:pt x="494" y="1384"/>
                    <a:pt x="494" y="1379"/>
                  </a:cubicBezTo>
                  <a:cubicBezTo>
                    <a:pt x="494" y="1373"/>
                    <a:pt x="498" y="1369"/>
                    <a:pt x="503" y="1369"/>
                  </a:cubicBezTo>
                  <a:cubicBezTo>
                    <a:pt x="509" y="1369"/>
                    <a:pt x="513" y="1373"/>
                    <a:pt x="513" y="1379"/>
                  </a:cubicBezTo>
                  <a:cubicBezTo>
                    <a:pt x="513" y="1384"/>
                    <a:pt x="509" y="1388"/>
                    <a:pt x="503" y="1388"/>
                  </a:cubicBezTo>
                  <a:close/>
                  <a:moveTo>
                    <a:pt x="555" y="1406"/>
                  </a:moveTo>
                  <a:cubicBezTo>
                    <a:pt x="549" y="1406"/>
                    <a:pt x="545" y="1402"/>
                    <a:pt x="545" y="1396"/>
                  </a:cubicBezTo>
                  <a:cubicBezTo>
                    <a:pt x="545" y="1391"/>
                    <a:pt x="549" y="1386"/>
                    <a:pt x="555" y="1386"/>
                  </a:cubicBezTo>
                  <a:cubicBezTo>
                    <a:pt x="560" y="1386"/>
                    <a:pt x="565" y="1391"/>
                    <a:pt x="565" y="1396"/>
                  </a:cubicBezTo>
                  <a:cubicBezTo>
                    <a:pt x="565" y="1402"/>
                    <a:pt x="560" y="1406"/>
                    <a:pt x="555" y="140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EF5DA663-A6ED-7048-AF0F-D0B159EF5DC4}"/>
                </a:ext>
              </a:extLst>
            </p:cNvPr>
            <p:cNvGrpSpPr/>
            <p:nvPr/>
          </p:nvGrpSpPr>
          <p:grpSpPr>
            <a:xfrm>
              <a:off x="6348413" y="1949450"/>
              <a:ext cx="1833563" cy="3748087"/>
              <a:chOff x="6348413" y="1949450"/>
              <a:chExt cx="1833563" cy="3748087"/>
            </a:xfrm>
            <a:solidFill>
              <a:schemeClr val="bg1"/>
            </a:solidFill>
          </p:grpSpPr>
          <p:sp>
            <p:nvSpPr>
              <p:cNvPr id="37" name="Freeform 8">
                <a:extLst>
                  <a:ext uri="{FF2B5EF4-FFF2-40B4-BE49-F238E27FC236}">
                    <a16:creationId xmlns:a16="http://schemas.microsoft.com/office/drawing/2014/main" id="{497E0FEB-0F9E-C840-AA92-E847A1F901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48413" y="1949450"/>
                <a:ext cx="1833563" cy="3748087"/>
              </a:xfrm>
              <a:custGeom>
                <a:avLst/>
                <a:gdLst>
                  <a:gd name="T0" fmla="*/ 571 w 673"/>
                  <a:gd name="T1" fmla="*/ 323 h 1375"/>
                  <a:gd name="T2" fmla="*/ 344 w 673"/>
                  <a:gd name="T3" fmla="*/ 97 h 1375"/>
                  <a:gd name="T4" fmla="*/ 14 w 673"/>
                  <a:gd name="T5" fmla="*/ 190 h 1375"/>
                  <a:gd name="T6" fmla="*/ 61 w 673"/>
                  <a:gd name="T7" fmla="*/ 585 h 1375"/>
                  <a:gd name="T8" fmla="*/ 17 w 673"/>
                  <a:gd name="T9" fmla="*/ 728 h 1375"/>
                  <a:gd name="T10" fmla="*/ 30 w 673"/>
                  <a:gd name="T11" fmla="*/ 826 h 1375"/>
                  <a:gd name="T12" fmla="*/ 366 w 673"/>
                  <a:gd name="T13" fmla="*/ 1265 h 1375"/>
                  <a:gd name="T14" fmla="*/ 617 w 673"/>
                  <a:gd name="T15" fmla="*/ 642 h 1375"/>
                  <a:gd name="T16" fmla="*/ 196 w 673"/>
                  <a:gd name="T17" fmla="*/ 743 h 1375"/>
                  <a:gd name="T18" fmla="*/ 135 w 673"/>
                  <a:gd name="T19" fmla="*/ 736 h 1375"/>
                  <a:gd name="T20" fmla="*/ 195 w 673"/>
                  <a:gd name="T21" fmla="*/ 702 h 1375"/>
                  <a:gd name="T22" fmla="*/ 97 w 673"/>
                  <a:gd name="T23" fmla="*/ 563 h 1375"/>
                  <a:gd name="T24" fmla="*/ 66 w 673"/>
                  <a:gd name="T25" fmla="*/ 370 h 1375"/>
                  <a:gd name="T26" fmla="*/ 32 w 673"/>
                  <a:gd name="T27" fmla="*/ 135 h 1375"/>
                  <a:gd name="T28" fmla="*/ 264 w 673"/>
                  <a:gd name="T29" fmla="*/ 177 h 1375"/>
                  <a:gd name="T30" fmla="*/ 412 w 673"/>
                  <a:gd name="T31" fmla="*/ 339 h 1375"/>
                  <a:gd name="T32" fmla="*/ 375 w 673"/>
                  <a:gd name="T33" fmla="*/ 279 h 1375"/>
                  <a:gd name="T34" fmla="*/ 297 w 673"/>
                  <a:gd name="T35" fmla="*/ 219 h 1375"/>
                  <a:gd name="T36" fmla="*/ 159 w 673"/>
                  <a:gd name="T37" fmla="*/ 162 h 1375"/>
                  <a:gd name="T38" fmla="*/ 213 w 673"/>
                  <a:gd name="T39" fmla="*/ 92 h 1375"/>
                  <a:gd name="T40" fmla="*/ 60 w 673"/>
                  <a:gd name="T41" fmla="*/ 255 h 1375"/>
                  <a:gd name="T42" fmla="*/ 144 w 673"/>
                  <a:gd name="T43" fmla="*/ 260 h 1375"/>
                  <a:gd name="T44" fmla="*/ 291 w 673"/>
                  <a:gd name="T45" fmla="*/ 233 h 1375"/>
                  <a:gd name="T46" fmla="*/ 512 w 673"/>
                  <a:gd name="T47" fmla="*/ 342 h 1375"/>
                  <a:gd name="T48" fmla="*/ 499 w 673"/>
                  <a:gd name="T49" fmla="*/ 374 h 1375"/>
                  <a:gd name="T50" fmla="*/ 489 w 673"/>
                  <a:gd name="T51" fmla="*/ 301 h 1375"/>
                  <a:gd name="T52" fmla="*/ 552 w 673"/>
                  <a:gd name="T53" fmla="*/ 508 h 1375"/>
                  <a:gd name="T54" fmla="*/ 53 w 673"/>
                  <a:gd name="T55" fmla="*/ 794 h 1375"/>
                  <a:gd name="T56" fmla="*/ 564 w 673"/>
                  <a:gd name="T57" fmla="*/ 973 h 1375"/>
                  <a:gd name="T58" fmla="*/ 553 w 673"/>
                  <a:gd name="T59" fmla="*/ 786 h 1375"/>
                  <a:gd name="T60" fmla="*/ 514 w 673"/>
                  <a:gd name="T61" fmla="*/ 823 h 1375"/>
                  <a:gd name="T62" fmla="*/ 472 w 673"/>
                  <a:gd name="T63" fmla="*/ 803 h 1375"/>
                  <a:gd name="T64" fmla="*/ 423 w 673"/>
                  <a:gd name="T65" fmla="*/ 1063 h 1375"/>
                  <a:gd name="T66" fmla="*/ 443 w 673"/>
                  <a:gd name="T67" fmla="*/ 954 h 1375"/>
                  <a:gd name="T68" fmla="*/ 497 w 673"/>
                  <a:gd name="T69" fmla="*/ 914 h 1375"/>
                  <a:gd name="T70" fmla="*/ 311 w 673"/>
                  <a:gd name="T71" fmla="*/ 1113 h 1375"/>
                  <a:gd name="T72" fmla="*/ 302 w 673"/>
                  <a:gd name="T73" fmla="*/ 1090 h 1375"/>
                  <a:gd name="T74" fmla="*/ 277 w 673"/>
                  <a:gd name="T75" fmla="*/ 1133 h 1375"/>
                  <a:gd name="T76" fmla="*/ 333 w 673"/>
                  <a:gd name="T77" fmla="*/ 1127 h 1375"/>
                  <a:gd name="T78" fmla="*/ 224 w 673"/>
                  <a:gd name="T79" fmla="*/ 1354 h 1375"/>
                  <a:gd name="T80" fmla="*/ 154 w 673"/>
                  <a:gd name="T81" fmla="*/ 1251 h 1375"/>
                  <a:gd name="T82" fmla="*/ 157 w 673"/>
                  <a:gd name="T83" fmla="*/ 1238 h 1375"/>
                  <a:gd name="T84" fmla="*/ 60 w 673"/>
                  <a:gd name="T85" fmla="*/ 1086 h 1375"/>
                  <a:gd name="T86" fmla="*/ 145 w 673"/>
                  <a:gd name="T87" fmla="*/ 1039 h 1375"/>
                  <a:gd name="T88" fmla="*/ 203 w 673"/>
                  <a:gd name="T89" fmla="*/ 1073 h 1375"/>
                  <a:gd name="T90" fmla="*/ 61 w 673"/>
                  <a:gd name="T91" fmla="*/ 1064 h 1375"/>
                  <a:gd name="T92" fmla="*/ 236 w 673"/>
                  <a:gd name="T93" fmla="*/ 860 h 1375"/>
                  <a:gd name="T94" fmla="*/ 85 w 673"/>
                  <a:gd name="T95" fmla="*/ 916 h 1375"/>
                  <a:gd name="T96" fmla="*/ 63 w 673"/>
                  <a:gd name="T97" fmla="*/ 962 h 1375"/>
                  <a:gd name="T98" fmla="*/ 286 w 673"/>
                  <a:gd name="T99" fmla="*/ 964 h 1375"/>
                  <a:gd name="T100" fmla="*/ 274 w 673"/>
                  <a:gd name="T101" fmla="*/ 929 h 1375"/>
                  <a:gd name="T102" fmla="*/ 299 w 673"/>
                  <a:gd name="T103" fmla="*/ 829 h 1375"/>
                  <a:gd name="T104" fmla="*/ 405 w 673"/>
                  <a:gd name="T105" fmla="*/ 768 h 1375"/>
                  <a:gd name="T106" fmla="*/ 350 w 673"/>
                  <a:gd name="T107" fmla="*/ 805 h 1375"/>
                  <a:gd name="T108" fmla="*/ 630 w 673"/>
                  <a:gd name="T109" fmla="*/ 584 h 1375"/>
                  <a:gd name="T110" fmla="*/ 584 w 673"/>
                  <a:gd name="T111" fmla="*/ 644 h 1375"/>
                  <a:gd name="T112" fmla="*/ 560 w 673"/>
                  <a:gd name="T113" fmla="*/ 547 h 1375"/>
                  <a:gd name="T114" fmla="*/ 577 w 673"/>
                  <a:gd name="T115" fmla="*/ 725 h 1375"/>
                  <a:gd name="T116" fmla="*/ 559 w 673"/>
                  <a:gd name="T117" fmla="*/ 735 h 1375"/>
                  <a:gd name="T118" fmla="*/ 607 w 673"/>
                  <a:gd name="T119" fmla="*/ 649 h 1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73" h="1375">
                    <a:moveTo>
                      <a:pt x="617" y="642"/>
                    </a:moveTo>
                    <a:cubicBezTo>
                      <a:pt x="627" y="633"/>
                      <a:pt x="635" y="621"/>
                      <a:pt x="639" y="608"/>
                    </a:cubicBezTo>
                    <a:cubicBezTo>
                      <a:pt x="654" y="564"/>
                      <a:pt x="625" y="531"/>
                      <a:pt x="588" y="516"/>
                    </a:cubicBezTo>
                    <a:cubicBezTo>
                      <a:pt x="612" y="451"/>
                      <a:pt x="607" y="383"/>
                      <a:pt x="571" y="323"/>
                    </a:cubicBezTo>
                    <a:cubicBezTo>
                      <a:pt x="554" y="295"/>
                      <a:pt x="531" y="269"/>
                      <a:pt x="504" y="249"/>
                    </a:cubicBezTo>
                    <a:cubicBezTo>
                      <a:pt x="505" y="233"/>
                      <a:pt x="504" y="216"/>
                      <a:pt x="500" y="200"/>
                    </a:cubicBezTo>
                    <a:cubicBezTo>
                      <a:pt x="486" y="142"/>
                      <a:pt x="439" y="89"/>
                      <a:pt x="375" y="91"/>
                    </a:cubicBezTo>
                    <a:cubicBezTo>
                      <a:pt x="364" y="91"/>
                      <a:pt x="354" y="94"/>
                      <a:pt x="344" y="97"/>
                    </a:cubicBezTo>
                    <a:cubicBezTo>
                      <a:pt x="288" y="19"/>
                      <a:pt x="169" y="0"/>
                      <a:pt x="87" y="45"/>
                    </a:cubicBezTo>
                    <a:cubicBezTo>
                      <a:pt x="47" y="67"/>
                      <a:pt x="22" y="108"/>
                      <a:pt x="15" y="153"/>
                    </a:cubicBezTo>
                    <a:cubicBezTo>
                      <a:pt x="14" y="165"/>
                      <a:pt x="13" y="177"/>
                      <a:pt x="14" y="189"/>
                    </a:cubicBezTo>
                    <a:cubicBezTo>
                      <a:pt x="14" y="190"/>
                      <a:pt x="14" y="190"/>
                      <a:pt x="14" y="190"/>
                    </a:cubicBezTo>
                    <a:cubicBezTo>
                      <a:pt x="14" y="190"/>
                      <a:pt x="13" y="191"/>
                      <a:pt x="13" y="192"/>
                    </a:cubicBezTo>
                    <a:cubicBezTo>
                      <a:pt x="11" y="199"/>
                      <a:pt x="10" y="206"/>
                      <a:pt x="8" y="212"/>
                    </a:cubicBezTo>
                    <a:cubicBezTo>
                      <a:pt x="0" y="260"/>
                      <a:pt x="14" y="306"/>
                      <a:pt x="41" y="343"/>
                    </a:cubicBezTo>
                    <a:cubicBezTo>
                      <a:pt x="10" y="419"/>
                      <a:pt x="9" y="517"/>
                      <a:pt x="61" y="585"/>
                    </a:cubicBezTo>
                    <a:cubicBezTo>
                      <a:pt x="57" y="590"/>
                      <a:pt x="53" y="596"/>
                      <a:pt x="49" y="602"/>
                    </a:cubicBezTo>
                    <a:cubicBezTo>
                      <a:pt x="48" y="602"/>
                      <a:pt x="48" y="603"/>
                      <a:pt x="47" y="604"/>
                    </a:cubicBezTo>
                    <a:cubicBezTo>
                      <a:pt x="46" y="606"/>
                      <a:pt x="46" y="607"/>
                      <a:pt x="45" y="608"/>
                    </a:cubicBezTo>
                    <a:cubicBezTo>
                      <a:pt x="24" y="644"/>
                      <a:pt x="12" y="684"/>
                      <a:pt x="17" y="728"/>
                    </a:cubicBezTo>
                    <a:cubicBezTo>
                      <a:pt x="20" y="747"/>
                      <a:pt x="25" y="766"/>
                      <a:pt x="33" y="784"/>
                    </a:cubicBezTo>
                    <a:cubicBezTo>
                      <a:pt x="35" y="788"/>
                      <a:pt x="38" y="793"/>
                      <a:pt x="40" y="798"/>
                    </a:cubicBezTo>
                    <a:cubicBezTo>
                      <a:pt x="41" y="798"/>
                      <a:pt x="41" y="799"/>
                      <a:pt x="42" y="800"/>
                    </a:cubicBezTo>
                    <a:cubicBezTo>
                      <a:pt x="40" y="798"/>
                      <a:pt x="31" y="824"/>
                      <a:pt x="30" y="826"/>
                    </a:cubicBezTo>
                    <a:cubicBezTo>
                      <a:pt x="4" y="904"/>
                      <a:pt x="10" y="1000"/>
                      <a:pt x="52" y="1072"/>
                    </a:cubicBezTo>
                    <a:cubicBezTo>
                      <a:pt x="8" y="1179"/>
                      <a:pt x="35" y="1331"/>
                      <a:pt x="160" y="1362"/>
                    </a:cubicBezTo>
                    <a:cubicBezTo>
                      <a:pt x="211" y="1375"/>
                      <a:pt x="265" y="1364"/>
                      <a:pt x="307" y="1332"/>
                    </a:cubicBezTo>
                    <a:cubicBezTo>
                      <a:pt x="329" y="1315"/>
                      <a:pt x="351" y="1292"/>
                      <a:pt x="366" y="1265"/>
                    </a:cubicBezTo>
                    <a:cubicBezTo>
                      <a:pt x="440" y="1247"/>
                      <a:pt x="517" y="1202"/>
                      <a:pt x="554" y="1134"/>
                    </a:cubicBezTo>
                    <a:cubicBezTo>
                      <a:pt x="578" y="1091"/>
                      <a:pt x="583" y="1035"/>
                      <a:pt x="568" y="986"/>
                    </a:cubicBezTo>
                    <a:cubicBezTo>
                      <a:pt x="599" y="956"/>
                      <a:pt x="623" y="918"/>
                      <a:pt x="640" y="879"/>
                    </a:cubicBezTo>
                    <a:cubicBezTo>
                      <a:pt x="673" y="799"/>
                      <a:pt x="666" y="714"/>
                      <a:pt x="617" y="642"/>
                    </a:cubicBezTo>
                    <a:close/>
                    <a:moveTo>
                      <a:pt x="32" y="741"/>
                    </a:moveTo>
                    <a:cubicBezTo>
                      <a:pt x="26" y="714"/>
                      <a:pt x="28" y="688"/>
                      <a:pt x="35" y="663"/>
                    </a:cubicBezTo>
                    <a:cubicBezTo>
                      <a:pt x="35" y="682"/>
                      <a:pt x="39" y="701"/>
                      <a:pt x="47" y="718"/>
                    </a:cubicBezTo>
                    <a:cubicBezTo>
                      <a:pt x="74" y="772"/>
                      <a:pt x="155" y="797"/>
                      <a:pt x="196" y="743"/>
                    </a:cubicBezTo>
                    <a:cubicBezTo>
                      <a:pt x="211" y="724"/>
                      <a:pt x="213" y="698"/>
                      <a:pt x="197" y="679"/>
                    </a:cubicBezTo>
                    <a:cubicBezTo>
                      <a:pt x="183" y="662"/>
                      <a:pt x="158" y="649"/>
                      <a:pt x="136" y="653"/>
                    </a:cubicBezTo>
                    <a:cubicBezTo>
                      <a:pt x="112" y="658"/>
                      <a:pt x="101" y="683"/>
                      <a:pt x="105" y="705"/>
                    </a:cubicBezTo>
                    <a:cubicBezTo>
                      <a:pt x="108" y="720"/>
                      <a:pt x="122" y="731"/>
                      <a:pt x="135" y="736"/>
                    </a:cubicBezTo>
                    <a:cubicBezTo>
                      <a:pt x="143" y="738"/>
                      <a:pt x="146" y="726"/>
                      <a:pt x="139" y="724"/>
                    </a:cubicBezTo>
                    <a:cubicBezTo>
                      <a:pt x="128" y="720"/>
                      <a:pt x="120" y="712"/>
                      <a:pt x="117" y="702"/>
                    </a:cubicBezTo>
                    <a:cubicBezTo>
                      <a:pt x="111" y="678"/>
                      <a:pt x="132" y="662"/>
                      <a:pt x="153" y="666"/>
                    </a:cubicBezTo>
                    <a:cubicBezTo>
                      <a:pt x="172" y="669"/>
                      <a:pt x="189" y="684"/>
                      <a:pt x="195" y="702"/>
                    </a:cubicBezTo>
                    <a:cubicBezTo>
                      <a:pt x="202" y="725"/>
                      <a:pt x="180" y="745"/>
                      <a:pt x="161" y="755"/>
                    </a:cubicBezTo>
                    <a:cubicBezTo>
                      <a:pt x="111" y="779"/>
                      <a:pt x="59" y="733"/>
                      <a:pt x="49" y="685"/>
                    </a:cubicBezTo>
                    <a:cubicBezTo>
                      <a:pt x="44" y="663"/>
                      <a:pt x="48" y="635"/>
                      <a:pt x="56" y="614"/>
                    </a:cubicBezTo>
                    <a:cubicBezTo>
                      <a:pt x="67" y="596"/>
                      <a:pt x="81" y="578"/>
                      <a:pt x="97" y="563"/>
                    </a:cubicBezTo>
                    <a:cubicBezTo>
                      <a:pt x="103" y="557"/>
                      <a:pt x="94" y="548"/>
                      <a:pt x="88" y="554"/>
                    </a:cubicBezTo>
                    <a:cubicBezTo>
                      <a:pt x="82" y="561"/>
                      <a:pt x="75" y="568"/>
                      <a:pt x="69" y="575"/>
                    </a:cubicBezTo>
                    <a:cubicBezTo>
                      <a:pt x="24" y="514"/>
                      <a:pt x="24" y="425"/>
                      <a:pt x="50" y="354"/>
                    </a:cubicBezTo>
                    <a:cubicBezTo>
                      <a:pt x="55" y="360"/>
                      <a:pt x="60" y="365"/>
                      <a:pt x="66" y="370"/>
                    </a:cubicBezTo>
                    <a:cubicBezTo>
                      <a:pt x="72" y="376"/>
                      <a:pt x="81" y="367"/>
                      <a:pt x="75" y="361"/>
                    </a:cubicBezTo>
                    <a:cubicBezTo>
                      <a:pt x="29" y="320"/>
                      <a:pt x="7" y="259"/>
                      <a:pt x="24" y="198"/>
                    </a:cubicBezTo>
                    <a:cubicBezTo>
                      <a:pt x="26" y="192"/>
                      <a:pt x="26" y="188"/>
                      <a:pt x="26" y="181"/>
                    </a:cubicBezTo>
                    <a:cubicBezTo>
                      <a:pt x="26" y="166"/>
                      <a:pt x="28" y="150"/>
                      <a:pt x="32" y="135"/>
                    </a:cubicBezTo>
                    <a:cubicBezTo>
                      <a:pt x="49" y="73"/>
                      <a:pt x="103" y="42"/>
                      <a:pt x="163" y="34"/>
                    </a:cubicBezTo>
                    <a:cubicBezTo>
                      <a:pt x="221" y="28"/>
                      <a:pt x="278" y="48"/>
                      <a:pt x="319" y="88"/>
                    </a:cubicBezTo>
                    <a:cubicBezTo>
                      <a:pt x="324" y="93"/>
                      <a:pt x="328" y="97"/>
                      <a:pt x="332" y="102"/>
                    </a:cubicBezTo>
                    <a:cubicBezTo>
                      <a:pt x="301" y="118"/>
                      <a:pt x="277" y="146"/>
                      <a:pt x="264" y="177"/>
                    </a:cubicBezTo>
                    <a:cubicBezTo>
                      <a:pt x="261" y="184"/>
                      <a:pt x="271" y="190"/>
                      <a:pt x="275" y="183"/>
                    </a:cubicBezTo>
                    <a:cubicBezTo>
                      <a:pt x="291" y="143"/>
                      <a:pt x="328" y="108"/>
                      <a:pt x="371" y="104"/>
                    </a:cubicBezTo>
                    <a:cubicBezTo>
                      <a:pt x="432" y="97"/>
                      <a:pt x="475" y="151"/>
                      <a:pt x="488" y="204"/>
                    </a:cubicBezTo>
                    <a:cubicBezTo>
                      <a:pt x="503" y="265"/>
                      <a:pt x="477" y="326"/>
                      <a:pt x="412" y="339"/>
                    </a:cubicBezTo>
                    <a:cubicBezTo>
                      <a:pt x="377" y="346"/>
                      <a:pt x="341" y="330"/>
                      <a:pt x="319" y="304"/>
                    </a:cubicBezTo>
                    <a:cubicBezTo>
                      <a:pt x="298" y="281"/>
                      <a:pt x="292" y="244"/>
                      <a:pt x="313" y="218"/>
                    </a:cubicBezTo>
                    <a:cubicBezTo>
                      <a:pt x="328" y="200"/>
                      <a:pt x="355" y="198"/>
                      <a:pt x="374" y="210"/>
                    </a:cubicBezTo>
                    <a:cubicBezTo>
                      <a:pt x="400" y="227"/>
                      <a:pt x="390" y="259"/>
                      <a:pt x="375" y="279"/>
                    </a:cubicBezTo>
                    <a:cubicBezTo>
                      <a:pt x="370" y="285"/>
                      <a:pt x="381" y="291"/>
                      <a:pt x="386" y="285"/>
                    </a:cubicBezTo>
                    <a:cubicBezTo>
                      <a:pt x="401" y="265"/>
                      <a:pt x="409" y="240"/>
                      <a:pt x="397" y="217"/>
                    </a:cubicBezTo>
                    <a:cubicBezTo>
                      <a:pt x="387" y="198"/>
                      <a:pt x="365" y="190"/>
                      <a:pt x="345" y="190"/>
                    </a:cubicBezTo>
                    <a:cubicBezTo>
                      <a:pt x="325" y="190"/>
                      <a:pt x="308" y="202"/>
                      <a:pt x="297" y="219"/>
                    </a:cubicBezTo>
                    <a:cubicBezTo>
                      <a:pt x="261" y="228"/>
                      <a:pt x="206" y="219"/>
                      <a:pt x="176" y="189"/>
                    </a:cubicBezTo>
                    <a:cubicBezTo>
                      <a:pt x="176" y="188"/>
                      <a:pt x="175" y="187"/>
                      <a:pt x="173" y="186"/>
                    </a:cubicBezTo>
                    <a:cubicBezTo>
                      <a:pt x="173" y="186"/>
                      <a:pt x="173" y="186"/>
                      <a:pt x="173" y="186"/>
                    </a:cubicBezTo>
                    <a:cubicBezTo>
                      <a:pt x="167" y="179"/>
                      <a:pt x="162" y="171"/>
                      <a:pt x="159" y="162"/>
                    </a:cubicBezTo>
                    <a:cubicBezTo>
                      <a:pt x="150" y="134"/>
                      <a:pt x="168" y="95"/>
                      <a:pt x="202" y="101"/>
                    </a:cubicBezTo>
                    <a:cubicBezTo>
                      <a:pt x="225" y="105"/>
                      <a:pt x="230" y="131"/>
                      <a:pt x="222" y="150"/>
                    </a:cubicBezTo>
                    <a:cubicBezTo>
                      <a:pt x="219" y="157"/>
                      <a:pt x="231" y="160"/>
                      <a:pt x="234" y="153"/>
                    </a:cubicBezTo>
                    <a:cubicBezTo>
                      <a:pt x="244" y="130"/>
                      <a:pt x="236" y="103"/>
                      <a:pt x="213" y="92"/>
                    </a:cubicBezTo>
                    <a:cubicBezTo>
                      <a:pt x="182" y="78"/>
                      <a:pt x="152" y="104"/>
                      <a:pt x="145" y="133"/>
                    </a:cubicBezTo>
                    <a:cubicBezTo>
                      <a:pt x="141" y="150"/>
                      <a:pt x="144" y="164"/>
                      <a:pt x="150" y="177"/>
                    </a:cubicBezTo>
                    <a:cubicBezTo>
                      <a:pt x="136" y="173"/>
                      <a:pt x="120" y="173"/>
                      <a:pt x="106" y="176"/>
                    </a:cubicBezTo>
                    <a:cubicBezTo>
                      <a:pt x="73" y="183"/>
                      <a:pt x="45" y="223"/>
                      <a:pt x="60" y="255"/>
                    </a:cubicBezTo>
                    <a:cubicBezTo>
                      <a:pt x="72" y="282"/>
                      <a:pt x="107" y="301"/>
                      <a:pt x="135" y="289"/>
                    </a:cubicBezTo>
                    <a:cubicBezTo>
                      <a:pt x="169" y="274"/>
                      <a:pt x="159" y="228"/>
                      <a:pt x="127" y="219"/>
                    </a:cubicBezTo>
                    <a:cubicBezTo>
                      <a:pt x="120" y="216"/>
                      <a:pt x="116" y="228"/>
                      <a:pt x="124" y="231"/>
                    </a:cubicBezTo>
                    <a:cubicBezTo>
                      <a:pt x="136" y="234"/>
                      <a:pt x="146" y="247"/>
                      <a:pt x="144" y="260"/>
                    </a:cubicBezTo>
                    <a:cubicBezTo>
                      <a:pt x="142" y="275"/>
                      <a:pt x="127" y="281"/>
                      <a:pt x="114" y="280"/>
                    </a:cubicBezTo>
                    <a:cubicBezTo>
                      <a:pt x="89" y="279"/>
                      <a:pt x="64" y="254"/>
                      <a:pt x="69" y="228"/>
                    </a:cubicBezTo>
                    <a:cubicBezTo>
                      <a:pt x="77" y="184"/>
                      <a:pt x="129" y="179"/>
                      <a:pt x="163" y="195"/>
                    </a:cubicBezTo>
                    <a:cubicBezTo>
                      <a:pt x="193" y="225"/>
                      <a:pt x="251" y="238"/>
                      <a:pt x="291" y="233"/>
                    </a:cubicBezTo>
                    <a:cubicBezTo>
                      <a:pt x="283" y="255"/>
                      <a:pt x="288" y="280"/>
                      <a:pt x="301" y="301"/>
                    </a:cubicBezTo>
                    <a:cubicBezTo>
                      <a:pt x="334" y="356"/>
                      <a:pt x="408" y="367"/>
                      <a:pt x="460" y="332"/>
                    </a:cubicBezTo>
                    <a:cubicBezTo>
                      <a:pt x="469" y="326"/>
                      <a:pt x="476" y="319"/>
                      <a:pt x="482" y="311"/>
                    </a:cubicBezTo>
                    <a:cubicBezTo>
                      <a:pt x="494" y="319"/>
                      <a:pt x="504" y="330"/>
                      <a:pt x="512" y="342"/>
                    </a:cubicBezTo>
                    <a:cubicBezTo>
                      <a:pt x="526" y="366"/>
                      <a:pt x="518" y="403"/>
                      <a:pt x="488" y="409"/>
                    </a:cubicBezTo>
                    <a:cubicBezTo>
                      <a:pt x="464" y="415"/>
                      <a:pt x="442" y="396"/>
                      <a:pt x="446" y="372"/>
                    </a:cubicBezTo>
                    <a:cubicBezTo>
                      <a:pt x="451" y="348"/>
                      <a:pt x="488" y="349"/>
                      <a:pt x="487" y="374"/>
                    </a:cubicBezTo>
                    <a:cubicBezTo>
                      <a:pt x="487" y="382"/>
                      <a:pt x="499" y="382"/>
                      <a:pt x="499" y="374"/>
                    </a:cubicBezTo>
                    <a:cubicBezTo>
                      <a:pt x="500" y="347"/>
                      <a:pt x="466" y="331"/>
                      <a:pt x="446" y="349"/>
                    </a:cubicBezTo>
                    <a:cubicBezTo>
                      <a:pt x="420" y="373"/>
                      <a:pt x="435" y="410"/>
                      <a:pt x="464" y="420"/>
                    </a:cubicBezTo>
                    <a:cubicBezTo>
                      <a:pt x="500" y="432"/>
                      <a:pt x="529" y="404"/>
                      <a:pt x="531" y="369"/>
                    </a:cubicBezTo>
                    <a:cubicBezTo>
                      <a:pt x="533" y="342"/>
                      <a:pt x="512" y="315"/>
                      <a:pt x="489" y="301"/>
                    </a:cubicBezTo>
                    <a:cubicBezTo>
                      <a:pt x="496" y="289"/>
                      <a:pt x="500" y="277"/>
                      <a:pt x="502" y="263"/>
                    </a:cubicBezTo>
                    <a:cubicBezTo>
                      <a:pt x="524" y="280"/>
                      <a:pt x="542" y="302"/>
                      <a:pt x="557" y="324"/>
                    </a:cubicBezTo>
                    <a:cubicBezTo>
                      <a:pt x="594" y="382"/>
                      <a:pt x="599" y="449"/>
                      <a:pt x="576" y="512"/>
                    </a:cubicBezTo>
                    <a:cubicBezTo>
                      <a:pt x="568" y="510"/>
                      <a:pt x="560" y="509"/>
                      <a:pt x="552" y="508"/>
                    </a:cubicBezTo>
                    <a:cubicBezTo>
                      <a:pt x="484" y="504"/>
                      <a:pt x="438" y="569"/>
                      <a:pt x="410" y="622"/>
                    </a:cubicBezTo>
                    <a:cubicBezTo>
                      <a:pt x="366" y="707"/>
                      <a:pt x="329" y="814"/>
                      <a:pt x="229" y="850"/>
                    </a:cubicBezTo>
                    <a:cubicBezTo>
                      <a:pt x="167" y="873"/>
                      <a:pt x="88" y="853"/>
                      <a:pt x="53" y="794"/>
                    </a:cubicBezTo>
                    <a:cubicBezTo>
                      <a:pt x="53" y="794"/>
                      <a:pt x="53" y="794"/>
                      <a:pt x="53" y="794"/>
                    </a:cubicBezTo>
                    <a:cubicBezTo>
                      <a:pt x="53" y="794"/>
                      <a:pt x="53" y="794"/>
                      <a:pt x="53" y="793"/>
                    </a:cubicBezTo>
                    <a:cubicBezTo>
                      <a:pt x="51" y="791"/>
                      <a:pt x="50" y="788"/>
                      <a:pt x="48" y="786"/>
                    </a:cubicBezTo>
                    <a:cubicBezTo>
                      <a:pt x="40" y="772"/>
                      <a:pt x="35" y="756"/>
                      <a:pt x="32" y="741"/>
                    </a:cubicBezTo>
                    <a:close/>
                    <a:moveTo>
                      <a:pt x="564" y="973"/>
                    </a:moveTo>
                    <a:cubicBezTo>
                      <a:pt x="561" y="968"/>
                      <a:pt x="559" y="962"/>
                      <a:pt x="556" y="957"/>
                    </a:cubicBezTo>
                    <a:cubicBezTo>
                      <a:pt x="539" y="925"/>
                      <a:pt x="509" y="901"/>
                      <a:pt x="474" y="892"/>
                    </a:cubicBezTo>
                    <a:cubicBezTo>
                      <a:pt x="469" y="875"/>
                      <a:pt x="468" y="855"/>
                      <a:pt x="471" y="838"/>
                    </a:cubicBezTo>
                    <a:cubicBezTo>
                      <a:pt x="478" y="800"/>
                      <a:pt x="516" y="773"/>
                      <a:pt x="553" y="786"/>
                    </a:cubicBezTo>
                    <a:cubicBezTo>
                      <a:pt x="587" y="798"/>
                      <a:pt x="605" y="842"/>
                      <a:pt x="579" y="870"/>
                    </a:cubicBezTo>
                    <a:cubicBezTo>
                      <a:pt x="564" y="885"/>
                      <a:pt x="541" y="891"/>
                      <a:pt x="525" y="876"/>
                    </a:cubicBezTo>
                    <a:cubicBezTo>
                      <a:pt x="511" y="865"/>
                      <a:pt x="509" y="844"/>
                      <a:pt x="523" y="832"/>
                    </a:cubicBezTo>
                    <a:cubicBezTo>
                      <a:pt x="528" y="826"/>
                      <a:pt x="520" y="817"/>
                      <a:pt x="514" y="823"/>
                    </a:cubicBezTo>
                    <a:cubicBezTo>
                      <a:pt x="483" y="851"/>
                      <a:pt x="514" y="904"/>
                      <a:pt x="553" y="897"/>
                    </a:cubicBezTo>
                    <a:cubicBezTo>
                      <a:pt x="576" y="892"/>
                      <a:pt x="596" y="875"/>
                      <a:pt x="603" y="853"/>
                    </a:cubicBezTo>
                    <a:cubicBezTo>
                      <a:pt x="608" y="833"/>
                      <a:pt x="600" y="813"/>
                      <a:pt x="588" y="797"/>
                    </a:cubicBezTo>
                    <a:cubicBezTo>
                      <a:pt x="557" y="758"/>
                      <a:pt x="500" y="765"/>
                      <a:pt x="472" y="803"/>
                    </a:cubicBezTo>
                    <a:cubicBezTo>
                      <a:pt x="455" y="826"/>
                      <a:pt x="454" y="861"/>
                      <a:pt x="461" y="889"/>
                    </a:cubicBezTo>
                    <a:cubicBezTo>
                      <a:pt x="452" y="888"/>
                      <a:pt x="444" y="887"/>
                      <a:pt x="436" y="887"/>
                    </a:cubicBezTo>
                    <a:cubicBezTo>
                      <a:pt x="388" y="889"/>
                      <a:pt x="344" y="923"/>
                      <a:pt x="341" y="972"/>
                    </a:cubicBezTo>
                    <a:cubicBezTo>
                      <a:pt x="338" y="1022"/>
                      <a:pt x="376" y="1057"/>
                      <a:pt x="423" y="1063"/>
                    </a:cubicBezTo>
                    <a:cubicBezTo>
                      <a:pt x="472" y="1070"/>
                      <a:pt x="517" y="1038"/>
                      <a:pt x="509" y="985"/>
                    </a:cubicBezTo>
                    <a:cubicBezTo>
                      <a:pt x="506" y="964"/>
                      <a:pt x="496" y="946"/>
                      <a:pt x="475" y="938"/>
                    </a:cubicBezTo>
                    <a:cubicBezTo>
                      <a:pt x="462" y="933"/>
                      <a:pt x="445" y="935"/>
                      <a:pt x="435" y="945"/>
                    </a:cubicBezTo>
                    <a:cubicBezTo>
                      <a:pt x="429" y="951"/>
                      <a:pt x="438" y="959"/>
                      <a:pt x="443" y="954"/>
                    </a:cubicBezTo>
                    <a:cubicBezTo>
                      <a:pt x="459" y="938"/>
                      <a:pt x="484" y="954"/>
                      <a:pt x="492" y="970"/>
                    </a:cubicBezTo>
                    <a:cubicBezTo>
                      <a:pt x="508" y="1000"/>
                      <a:pt x="494" y="1036"/>
                      <a:pt x="462" y="1047"/>
                    </a:cubicBezTo>
                    <a:cubicBezTo>
                      <a:pt x="404" y="1068"/>
                      <a:pt x="341" y="1020"/>
                      <a:pt x="356" y="958"/>
                    </a:cubicBezTo>
                    <a:cubicBezTo>
                      <a:pt x="370" y="896"/>
                      <a:pt x="450" y="889"/>
                      <a:pt x="497" y="914"/>
                    </a:cubicBezTo>
                    <a:cubicBezTo>
                      <a:pt x="557" y="946"/>
                      <a:pt x="572" y="1021"/>
                      <a:pt x="560" y="1083"/>
                    </a:cubicBezTo>
                    <a:cubicBezTo>
                      <a:pt x="543" y="1170"/>
                      <a:pt x="455" y="1227"/>
                      <a:pt x="373" y="1250"/>
                    </a:cubicBezTo>
                    <a:cubicBezTo>
                      <a:pt x="388" y="1217"/>
                      <a:pt x="393" y="1181"/>
                      <a:pt x="376" y="1147"/>
                    </a:cubicBezTo>
                    <a:cubicBezTo>
                      <a:pt x="365" y="1123"/>
                      <a:pt x="336" y="1110"/>
                      <a:pt x="311" y="1113"/>
                    </a:cubicBezTo>
                    <a:cubicBezTo>
                      <a:pt x="292" y="1104"/>
                      <a:pt x="281" y="1088"/>
                      <a:pt x="276" y="1068"/>
                    </a:cubicBezTo>
                    <a:cubicBezTo>
                      <a:pt x="272" y="1048"/>
                      <a:pt x="281" y="1026"/>
                      <a:pt x="303" y="1024"/>
                    </a:cubicBezTo>
                    <a:cubicBezTo>
                      <a:pt x="345" y="1019"/>
                      <a:pt x="346" y="1086"/>
                      <a:pt x="306" y="1078"/>
                    </a:cubicBezTo>
                    <a:cubicBezTo>
                      <a:pt x="298" y="1076"/>
                      <a:pt x="295" y="1088"/>
                      <a:pt x="302" y="1090"/>
                    </a:cubicBezTo>
                    <a:cubicBezTo>
                      <a:pt x="355" y="1101"/>
                      <a:pt x="365" y="1022"/>
                      <a:pt x="314" y="1012"/>
                    </a:cubicBezTo>
                    <a:cubicBezTo>
                      <a:pt x="287" y="1006"/>
                      <a:pt x="266" y="1027"/>
                      <a:pt x="263" y="1052"/>
                    </a:cubicBezTo>
                    <a:cubicBezTo>
                      <a:pt x="260" y="1077"/>
                      <a:pt x="274" y="1103"/>
                      <a:pt x="294" y="1118"/>
                    </a:cubicBezTo>
                    <a:cubicBezTo>
                      <a:pt x="288" y="1121"/>
                      <a:pt x="282" y="1126"/>
                      <a:pt x="277" y="1133"/>
                    </a:cubicBezTo>
                    <a:cubicBezTo>
                      <a:pt x="251" y="1168"/>
                      <a:pt x="297" y="1209"/>
                      <a:pt x="329" y="1180"/>
                    </a:cubicBezTo>
                    <a:cubicBezTo>
                      <a:pt x="335" y="1174"/>
                      <a:pt x="327" y="1165"/>
                      <a:pt x="321" y="1171"/>
                    </a:cubicBezTo>
                    <a:cubicBezTo>
                      <a:pt x="304" y="1186"/>
                      <a:pt x="282" y="1174"/>
                      <a:pt x="282" y="1153"/>
                    </a:cubicBezTo>
                    <a:cubicBezTo>
                      <a:pt x="281" y="1129"/>
                      <a:pt x="316" y="1123"/>
                      <a:pt x="333" y="1127"/>
                    </a:cubicBezTo>
                    <a:cubicBezTo>
                      <a:pt x="375" y="1136"/>
                      <a:pt x="378" y="1190"/>
                      <a:pt x="370" y="1224"/>
                    </a:cubicBezTo>
                    <a:cubicBezTo>
                      <a:pt x="367" y="1234"/>
                      <a:pt x="363" y="1244"/>
                      <a:pt x="358" y="1254"/>
                    </a:cubicBezTo>
                    <a:cubicBezTo>
                      <a:pt x="355" y="1256"/>
                      <a:pt x="354" y="1258"/>
                      <a:pt x="355" y="1261"/>
                    </a:cubicBezTo>
                    <a:cubicBezTo>
                      <a:pt x="328" y="1309"/>
                      <a:pt x="277" y="1347"/>
                      <a:pt x="224" y="1354"/>
                    </a:cubicBezTo>
                    <a:cubicBezTo>
                      <a:pt x="204" y="1356"/>
                      <a:pt x="183" y="1355"/>
                      <a:pt x="164" y="1350"/>
                    </a:cubicBezTo>
                    <a:cubicBezTo>
                      <a:pt x="164" y="1350"/>
                      <a:pt x="164" y="1350"/>
                      <a:pt x="164" y="1350"/>
                    </a:cubicBezTo>
                    <a:cubicBezTo>
                      <a:pt x="139" y="1340"/>
                      <a:pt x="116" y="1319"/>
                      <a:pt x="114" y="1291"/>
                    </a:cubicBezTo>
                    <a:cubicBezTo>
                      <a:pt x="112" y="1269"/>
                      <a:pt x="133" y="1252"/>
                      <a:pt x="154" y="1251"/>
                    </a:cubicBezTo>
                    <a:cubicBezTo>
                      <a:pt x="177" y="1249"/>
                      <a:pt x="196" y="1274"/>
                      <a:pt x="191" y="1297"/>
                    </a:cubicBezTo>
                    <a:cubicBezTo>
                      <a:pt x="189" y="1307"/>
                      <a:pt x="178" y="1315"/>
                      <a:pt x="168" y="1318"/>
                    </a:cubicBezTo>
                    <a:cubicBezTo>
                      <a:pt x="160" y="1321"/>
                      <a:pt x="163" y="1333"/>
                      <a:pt x="171" y="1330"/>
                    </a:cubicBezTo>
                    <a:cubicBezTo>
                      <a:pt x="223" y="1315"/>
                      <a:pt x="207" y="1242"/>
                      <a:pt x="157" y="1238"/>
                    </a:cubicBezTo>
                    <a:cubicBezTo>
                      <a:pt x="131" y="1236"/>
                      <a:pt x="104" y="1258"/>
                      <a:pt x="102" y="1284"/>
                    </a:cubicBezTo>
                    <a:cubicBezTo>
                      <a:pt x="100" y="1301"/>
                      <a:pt x="106" y="1317"/>
                      <a:pt x="117" y="1330"/>
                    </a:cubicBezTo>
                    <a:cubicBezTo>
                      <a:pt x="96" y="1317"/>
                      <a:pt x="79" y="1299"/>
                      <a:pt x="67" y="1276"/>
                    </a:cubicBezTo>
                    <a:cubicBezTo>
                      <a:pt x="37" y="1219"/>
                      <a:pt x="39" y="1146"/>
                      <a:pt x="60" y="1086"/>
                    </a:cubicBezTo>
                    <a:cubicBezTo>
                      <a:pt x="64" y="1091"/>
                      <a:pt x="68" y="1096"/>
                      <a:pt x="72" y="1101"/>
                    </a:cubicBezTo>
                    <a:cubicBezTo>
                      <a:pt x="97" y="1132"/>
                      <a:pt x="138" y="1149"/>
                      <a:pt x="177" y="1133"/>
                    </a:cubicBezTo>
                    <a:cubicBezTo>
                      <a:pt x="208" y="1121"/>
                      <a:pt x="226" y="1083"/>
                      <a:pt x="210" y="1052"/>
                    </a:cubicBezTo>
                    <a:cubicBezTo>
                      <a:pt x="198" y="1030"/>
                      <a:pt x="162" y="1018"/>
                      <a:pt x="145" y="1039"/>
                    </a:cubicBezTo>
                    <a:cubicBezTo>
                      <a:pt x="128" y="1060"/>
                      <a:pt x="131" y="1092"/>
                      <a:pt x="157" y="1102"/>
                    </a:cubicBezTo>
                    <a:cubicBezTo>
                      <a:pt x="164" y="1105"/>
                      <a:pt x="168" y="1093"/>
                      <a:pt x="160" y="1090"/>
                    </a:cubicBezTo>
                    <a:cubicBezTo>
                      <a:pt x="142" y="1083"/>
                      <a:pt x="143" y="1058"/>
                      <a:pt x="157" y="1045"/>
                    </a:cubicBezTo>
                    <a:cubicBezTo>
                      <a:pt x="175" y="1026"/>
                      <a:pt x="201" y="1056"/>
                      <a:pt x="203" y="1073"/>
                    </a:cubicBezTo>
                    <a:cubicBezTo>
                      <a:pt x="206" y="1100"/>
                      <a:pt x="185" y="1119"/>
                      <a:pt x="161" y="1125"/>
                    </a:cubicBezTo>
                    <a:cubicBezTo>
                      <a:pt x="129" y="1133"/>
                      <a:pt x="100" y="1115"/>
                      <a:pt x="80" y="1092"/>
                    </a:cubicBezTo>
                    <a:cubicBezTo>
                      <a:pt x="75" y="1085"/>
                      <a:pt x="70" y="1078"/>
                      <a:pt x="66" y="1071"/>
                    </a:cubicBezTo>
                    <a:cubicBezTo>
                      <a:pt x="66" y="1068"/>
                      <a:pt x="64" y="1065"/>
                      <a:pt x="61" y="1064"/>
                    </a:cubicBezTo>
                    <a:cubicBezTo>
                      <a:pt x="22" y="995"/>
                      <a:pt x="19" y="904"/>
                      <a:pt x="42" y="830"/>
                    </a:cubicBezTo>
                    <a:cubicBezTo>
                      <a:pt x="44" y="823"/>
                      <a:pt x="46" y="817"/>
                      <a:pt x="49" y="810"/>
                    </a:cubicBezTo>
                    <a:cubicBezTo>
                      <a:pt x="67" y="835"/>
                      <a:pt x="95" y="853"/>
                      <a:pt x="123" y="864"/>
                    </a:cubicBezTo>
                    <a:cubicBezTo>
                      <a:pt x="161" y="877"/>
                      <a:pt x="200" y="874"/>
                      <a:pt x="236" y="860"/>
                    </a:cubicBezTo>
                    <a:cubicBezTo>
                      <a:pt x="229" y="868"/>
                      <a:pt x="223" y="877"/>
                      <a:pt x="218" y="886"/>
                    </a:cubicBezTo>
                    <a:cubicBezTo>
                      <a:pt x="213" y="898"/>
                      <a:pt x="210" y="912"/>
                      <a:pt x="210" y="926"/>
                    </a:cubicBezTo>
                    <a:cubicBezTo>
                      <a:pt x="189" y="966"/>
                      <a:pt x="140" y="1004"/>
                      <a:pt x="94" y="981"/>
                    </a:cubicBezTo>
                    <a:cubicBezTo>
                      <a:pt x="69" y="969"/>
                      <a:pt x="69" y="935"/>
                      <a:pt x="85" y="916"/>
                    </a:cubicBezTo>
                    <a:cubicBezTo>
                      <a:pt x="111" y="886"/>
                      <a:pt x="150" y="939"/>
                      <a:pt x="115" y="951"/>
                    </a:cubicBezTo>
                    <a:cubicBezTo>
                      <a:pt x="107" y="953"/>
                      <a:pt x="110" y="965"/>
                      <a:pt x="118" y="963"/>
                    </a:cubicBezTo>
                    <a:cubicBezTo>
                      <a:pt x="154" y="951"/>
                      <a:pt x="144" y="896"/>
                      <a:pt x="107" y="894"/>
                    </a:cubicBezTo>
                    <a:cubicBezTo>
                      <a:pt x="72" y="892"/>
                      <a:pt x="56" y="933"/>
                      <a:pt x="63" y="962"/>
                    </a:cubicBezTo>
                    <a:cubicBezTo>
                      <a:pt x="75" y="1005"/>
                      <a:pt x="130" y="1006"/>
                      <a:pt x="163" y="991"/>
                    </a:cubicBezTo>
                    <a:cubicBezTo>
                      <a:pt x="183" y="981"/>
                      <a:pt x="200" y="964"/>
                      <a:pt x="213" y="945"/>
                    </a:cubicBezTo>
                    <a:cubicBezTo>
                      <a:pt x="215" y="953"/>
                      <a:pt x="218" y="960"/>
                      <a:pt x="223" y="966"/>
                    </a:cubicBezTo>
                    <a:cubicBezTo>
                      <a:pt x="240" y="988"/>
                      <a:pt x="270" y="985"/>
                      <a:pt x="286" y="964"/>
                    </a:cubicBezTo>
                    <a:cubicBezTo>
                      <a:pt x="303" y="942"/>
                      <a:pt x="284" y="911"/>
                      <a:pt x="259" y="909"/>
                    </a:cubicBezTo>
                    <a:cubicBezTo>
                      <a:pt x="249" y="909"/>
                      <a:pt x="238" y="914"/>
                      <a:pt x="230" y="920"/>
                    </a:cubicBezTo>
                    <a:cubicBezTo>
                      <a:pt x="224" y="925"/>
                      <a:pt x="233" y="934"/>
                      <a:pt x="239" y="929"/>
                    </a:cubicBezTo>
                    <a:cubicBezTo>
                      <a:pt x="248" y="921"/>
                      <a:pt x="263" y="919"/>
                      <a:pt x="274" y="929"/>
                    </a:cubicBezTo>
                    <a:cubicBezTo>
                      <a:pt x="293" y="948"/>
                      <a:pt x="268" y="972"/>
                      <a:pt x="247" y="968"/>
                    </a:cubicBezTo>
                    <a:cubicBezTo>
                      <a:pt x="230" y="965"/>
                      <a:pt x="224" y="944"/>
                      <a:pt x="223" y="929"/>
                    </a:cubicBezTo>
                    <a:cubicBezTo>
                      <a:pt x="221" y="909"/>
                      <a:pt x="228" y="889"/>
                      <a:pt x="241" y="874"/>
                    </a:cubicBezTo>
                    <a:cubicBezTo>
                      <a:pt x="257" y="855"/>
                      <a:pt x="276" y="839"/>
                      <a:pt x="299" y="829"/>
                    </a:cubicBezTo>
                    <a:cubicBezTo>
                      <a:pt x="334" y="815"/>
                      <a:pt x="372" y="817"/>
                      <a:pt x="409" y="814"/>
                    </a:cubicBezTo>
                    <a:cubicBezTo>
                      <a:pt x="443" y="812"/>
                      <a:pt x="496" y="783"/>
                      <a:pt x="471" y="742"/>
                    </a:cubicBezTo>
                    <a:cubicBezTo>
                      <a:pt x="462" y="726"/>
                      <a:pt x="441" y="722"/>
                      <a:pt x="425" y="728"/>
                    </a:cubicBezTo>
                    <a:cubicBezTo>
                      <a:pt x="410" y="734"/>
                      <a:pt x="403" y="752"/>
                      <a:pt x="405" y="768"/>
                    </a:cubicBezTo>
                    <a:cubicBezTo>
                      <a:pt x="405" y="775"/>
                      <a:pt x="418" y="776"/>
                      <a:pt x="417" y="768"/>
                    </a:cubicBezTo>
                    <a:cubicBezTo>
                      <a:pt x="415" y="746"/>
                      <a:pt x="433" y="729"/>
                      <a:pt x="454" y="741"/>
                    </a:cubicBezTo>
                    <a:cubicBezTo>
                      <a:pt x="471" y="752"/>
                      <a:pt x="465" y="775"/>
                      <a:pt x="453" y="786"/>
                    </a:cubicBezTo>
                    <a:cubicBezTo>
                      <a:pt x="427" y="810"/>
                      <a:pt x="381" y="801"/>
                      <a:pt x="350" y="805"/>
                    </a:cubicBezTo>
                    <a:cubicBezTo>
                      <a:pt x="336" y="806"/>
                      <a:pt x="322" y="809"/>
                      <a:pt x="309" y="813"/>
                    </a:cubicBezTo>
                    <a:cubicBezTo>
                      <a:pt x="360" y="763"/>
                      <a:pt x="388" y="696"/>
                      <a:pt x="418" y="633"/>
                    </a:cubicBezTo>
                    <a:cubicBezTo>
                      <a:pt x="449" y="570"/>
                      <a:pt x="503" y="503"/>
                      <a:pt x="580" y="526"/>
                    </a:cubicBezTo>
                    <a:cubicBezTo>
                      <a:pt x="607" y="534"/>
                      <a:pt x="629" y="555"/>
                      <a:pt x="630" y="584"/>
                    </a:cubicBezTo>
                    <a:cubicBezTo>
                      <a:pt x="631" y="604"/>
                      <a:pt x="622" y="623"/>
                      <a:pt x="606" y="635"/>
                    </a:cubicBezTo>
                    <a:cubicBezTo>
                      <a:pt x="605" y="635"/>
                      <a:pt x="603" y="636"/>
                      <a:pt x="603" y="637"/>
                    </a:cubicBezTo>
                    <a:cubicBezTo>
                      <a:pt x="601" y="638"/>
                      <a:pt x="599" y="639"/>
                      <a:pt x="598" y="640"/>
                    </a:cubicBezTo>
                    <a:cubicBezTo>
                      <a:pt x="593" y="642"/>
                      <a:pt x="589" y="643"/>
                      <a:pt x="584" y="644"/>
                    </a:cubicBezTo>
                    <a:cubicBezTo>
                      <a:pt x="583" y="644"/>
                      <a:pt x="583" y="645"/>
                      <a:pt x="582" y="645"/>
                    </a:cubicBezTo>
                    <a:cubicBezTo>
                      <a:pt x="554" y="650"/>
                      <a:pt x="520" y="638"/>
                      <a:pt x="510" y="611"/>
                    </a:cubicBezTo>
                    <a:cubicBezTo>
                      <a:pt x="500" y="586"/>
                      <a:pt x="522" y="535"/>
                      <a:pt x="553" y="558"/>
                    </a:cubicBezTo>
                    <a:cubicBezTo>
                      <a:pt x="560" y="563"/>
                      <a:pt x="566" y="552"/>
                      <a:pt x="560" y="547"/>
                    </a:cubicBezTo>
                    <a:cubicBezTo>
                      <a:pt x="540" y="533"/>
                      <a:pt x="517" y="544"/>
                      <a:pt x="504" y="561"/>
                    </a:cubicBezTo>
                    <a:cubicBezTo>
                      <a:pt x="487" y="584"/>
                      <a:pt x="494" y="619"/>
                      <a:pt x="513" y="638"/>
                    </a:cubicBezTo>
                    <a:cubicBezTo>
                      <a:pt x="531" y="655"/>
                      <a:pt x="557" y="660"/>
                      <a:pt x="581" y="657"/>
                    </a:cubicBezTo>
                    <a:cubicBezTo>
                      <a:pt x="599" y="674"/>
                      <a:pt x="608" y="717"/>
                      <a:pt x="577" y="725"/>
                    </a:cubicBezTo>
                    <a:cubicBezTo>
                      <a:pt x="559" y="729"/>
                      <a:pt x="547" y="711"/>
                      <a:pt x="550" y="696"/>
                    </a:cubicBezTo>
                    <a:cubicBezTo>
                      <a:pt x="554" y="683"/>
                      <a:pt x="567" y="679"/>
                      <a:pt x="577" y="685"/>
                    </a:cubicBezTo>
                    <a:cubicBezTo>
                      <a:pt x="584" y="689"/>
                      <a:pt x="591" y="678"/>
                      <a:pt x="584" y="674"/>
                    </a:cubicBezTo>
                    <a:cubicBezTo>
                      <a:pt x="543" y="653"/>
                      <a:pt x="518" y="717"/>
                      <a:pt x="559" y="735"/>
                    </a:cubicBezTo>
                    <a:cubicBezTo>
                      <a:pt x="580" y="744"/>
                      <a:pt x="599" y="731"/>
                      <a:pt x="607" y="711"/>
                    </a:cubicBezTo>
                    <a:cubicBezTo>
                      <a:pt x="614" y="692"/>
                      <a:pt x="608" y="669"/>
                      <a:pt x="596" y="654"/>
                    </a:cubicBezTo>
                    <a:cubicBezTo>
                      <a:pt x="596" y="653"/>
                      <a:pt x="597" y="653"/>
                      <a:pt x="597" y="653"/>
                    </a:cubicBezTo>
                    <a:cubicBezTo>
                      <a:pt x="601" y="652"/>
                      <a:pt x="604" y="651"/>
                      <a:pt x="607" y="649"/>
                    </a:cubicBezTo>
                    <a:cubicBezTo>
                      <a:pt x="632" y="686"/>
                      <a:pt x="647" y="727"/>
                      <a:pt x="649" y="772"/>
                    </a:cubicBezTo>
                    <a:cubicBezTo>
                      <a:pt x="650" y="809"/>
                      <a:pt x="641" y="846"/>
                      <a:pt x="626" y="880"/>
                    </a:cubicBezTo>
                    <a:cubicBezTo>
                      <a:pt x="611" y="914"/>
                      <a:pt x="589" y="947"/>
                      <a:pt x="564" y="97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38" name="Freeform 9">
                <a:extLst>
                  <a:ext uri="{FF2B5EF4-FFF2-40B4-BE49-F238E27FC236}">
                    <a16:creationId xmlns:a16="http://schemas.microsoft.com/office/drawing/2014/main" id="{C124F8CF-1864-E542-95A7-AA95F23F56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3575" y="2927350"/>
                <a:ext cx="468313" cy="995362"/>
              </a:xfrm>
              <a:custGeom>
                <a:avLst/>
                <a:gdLst>
                  <a:gd name="T0" fmla="*/ 5 w 172"/>
                  <a:gd name="T1" fmla="*/ 310 h 365"/>
                  <a:gd name="T2" fmla="*/ 70 w 172"/>
                  <a:gd name="T3" fmla="*/ 351 h 365"/>
                  <a:gd name="T4" fmla="*/ 75 w 172"/>
                  <a:gd name="T5" fmla="*/ 287 h 365"/>
                  <a:gd name="T6" fmla="*/ 33 w 172"/>
                  <a:gd name="T7" fmla="*/ 309 h 365"/>
                  <a:gd name="T8" fmla="*/ 46 w 172"/>
                  <a:gd name="T9" fmla="*/ 309 h 365"/>
                  <a:gd name="T10" fmla="*/ 49 w 172"/>
                  <a:gd name="T11" fmla="*/ 301 h 365"/>
                  <a:gd name="T12" fmla="*/ 77 w 172"/>
                  <a:gd name="T13" fmla="*/ 311 h 365"/>
                  <a:gd name="T14" fmla="*/ 53 w 172"/>
                  <a:gd name="T15" fmla="*/ 344 h 365"/>
                  <a:gd name="T16" fmla="*/ 19 w 172"/>
                  <a:gd name="T17" fmla="*/ 318 h 365"/>
                  <a:gd name="T18" fmla="*/ 93 w 172"/>
                  <a:gd name="T19" fmla="*/ 206 h 365"/>
                  <a:gd name="T20" fmla="*/ 165 w 172"/>
                  <a:gd name="T21" fmla="*/ 111 h 365"/>
                  <a:gd name="T22" fmla="*/ 143 w 172"/>
                  <a:gd name="T23" fmla="*/ 27 h 365"/>
                  <a:gd name="T24" fmla="*/ 54 w 172"/>
                  <a:gd name="T25" fmla="*/ 22 h 365"/>
                  <a:gd name="T26" fmla="*/ 53 w 172"/>
                  <a:gd name="T27" fmla="*/ 96 h 365"/>
                  <a:gd name="T28" fmla="*/ 124 w 172"/>
                  <a:gd name="T29" fmla="*/ 100 h 365"/>
                  <a:gd name="T30" fmla="*/ 113 w 172"/>
                  <a:gd name="T31" fmla="*/ 43 h 365"/>
                  <a:gd name="T32" fmla="*/ 83 w 172"/>
                  <a:gd name="T33" fmla="*/ 52 h 365"/>
                  <a:gd name="T34" fmla="*/ 92 w 172"/>
                  <a:gd name="T35" fmla="*/ 61 h 365"/>
                  <a:gd name="T36" fmla="*/ 122 w 172"/>
                  <a:gd name="T37" fmla="*/ 82 h 365"/>
                  <a:gd name="T38" fmla="*/ 73 w 172"/>
                  <a:gd name="T39" fmla="*/ 94 h 365"/>
                  <a:gd name="T40" fmla="*/ 52 w 172"/>
                  <a:gd name="T41" fmla="*/ 49 h 365"/>
                  <a:gd name="T42" fmla="*/ 107 w 172"/>
                  <a:gd name="T43" fmla="*/ 23 h 365"/>
                  <a:gd name="T44" fmla="*/ 150 w 172"/>
                  <a:gd name="T45" fmla="*/ 117 h 365"/>
                  <a:gd name="T46" fmla="*/ 58 w 172"/>
                  <a:gd name="T47" fmla="*/ 218 h 365"/>
                  <a:gd name="T48" fmla="*/ 5 w 172"/>
                  <a:gd name="T49" fmla="*/ 310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72" h="365">
                    <a:moveTo>
                      <a:pt x="5" y="310"/>
                    </a:moveTo>
                    <a:cubicBezTo>
                      <a:pt x="8" y="343"/>
                      <a:pt x="38" y="365"/>
                      <a:pt x="70" y="351"/>
                    </a:cubicBezTo>
                    <a:cubicBezTo>
                      <a:pt x="94" y="341"/>
                      <a:pt x="97" y="300"/>
                      <a:pt x="75" y="287"/>
                    </a:cubicBezTo>
                    <a:cubicBezTo>
                      <a:pt x="59" y="278"/>
                      <a:pt x="34" y="290"/>
                      <a:pt x="33" y="309"/>
                    </a:cubicBezTo>
                    <a:cubicBezTo>
                      <a:pt x="33" y="317"/>
                      <a:pt x="45" y="317"/>
                      <a:pt x="46" y="309"/>
                    </a:cubicBezTo>
                    <a:cubicBezTo>
                      <a:pt x="46" y="306"/>
                      <a:pt x="47" y="304"/>
                      <a:pt x="49" y="301"/>
                    </a:cubicBezTo>
                    <a:cubicBezTo>
                      <a:pt x="59" y="291"/>
                      <a:pt x="74" y="299"/>
                      <a:pt x="77" y="311"/>
                    </a:cubicBezTo>
                    <a:cubicBezTo>
                      <a:pt x="81" y="327"/>
                      <a:pt x="69" y="341"/>
                      <a:pt x="53" y="344"/>
                    </a:cubicBezTo>
                    <a:cubicBezTo>
                      <a:pt x="35" y="346"/>
                      <a:pt x="24" y="333"/>
                      <a:pt x="19" y="318"/>
                    </a:cubicBezTo>
                    <a:cubicBezTo>
                      <a:pt x="1" y="268"/>
                      <a:pt x="60" y="231"/>
                      <a:pt x="93" y="206"/>
                    </a:cubicBezTo>
                    <a:cubicBezTo>
                      <a:pt x="126" y="180"/>
                      <a:pt x="154" y="152"/>
                      <a:pt x="165" y="111"/>
                    </a:cubicBezTo>
                    <a:cubicBezTo>
                      <a:pt x="172" y="82"/>
                      <a:pt x="170" y="45"/>
                      <a:pt x="143" y="27"/>
                    </a:cubicBezTo>
                    <a:cubicBezTo>
                      <a:pt x="116" y="8"/>
                      <a:pt x="81" y="0"/>
                      <a:pt x="54" y="22"/>
                    </a:cubicBezTo>
                    <a:cubicBezTo>
                      <a:pt x="32" y="40"/>
                      <a:pt x="34" y="78"/>
                      <a:pt x="53" y="96"/>
                    </a:cubicBezTo>
                    <a:cubicBezTo>
                      <a:pt x="72" y="114"/>
                      <a:pt x="104" y="118"/>
                      <a:pt x="124" y="100"/>
                    </a:cubicBezTo>
                    <a:cubicBezTo>
                      <a:pt x="142" y="84"/>
                      <a:pt x="137" y="51"/>
                      <a:pt x="113" y="43"/>
                    </a:cubicBezTo>
                    <a:cubicBezTo>
                      <a:pt x="102" y="39"/>
                      <a:pt x="91" y="42"/>
                      <a:pt x="83" y="52"/>
                    </a:cubicBezTo>
                    <a:cubicBezTo>
                      <a:pt x="78" y="58"/>
                      <a:pt x="87" y="67"/>
                      <a:pt x="92" y="61"/>
                    </a:cubicBezTo>
                    <a:cubicBezTo>
                      <a:pt x="107" y="43"/>
                      <a:pt x="127" y="64"/>
                      <a:pt x="122" y="82"/>
                    </a:cubicBezTo>
                    <a:cubicBezTo>
                      <a:pt x="116" y="103"/>
                      <a:pt x="88" y="102"/>
                      <a:pt x="73" y="94"/>
                    </a:cubicBezTo>
                    <a:cubicBezTo>
                      <a:pt x="55" y="86"/>
                      <a:pt x="47" y="68"/>
                      <a:pt x="52" y="49"/>
                    </a:cubicBezTo>
                    <a:cubicBezTo>
                      <a:pt x="58" y="24"/>
                      <a:pt x="85" y="18"/>
                      <a:pt x="107" y="23"/>
                    </a:cubicBezTo>
                    <a:cubicBezTo>
                      <a:pt x="154" y="32"/>
                      <a:pt x="162" y="78"/>
                      <a:pt x="150" y="117"/>
                    </a:cubicBezTo>
                    <a:cubicBezTo>
                      <a:pt x="136" y="163"/>
                      <a:pt x="93" y="189"/>
                      <a:pt x="58" y="218"/>
                    </a:cubicBezTo>
                    <a:cubicBezTo>
                      <a:pt x="28" y="242"/>
                      <a:pt x="0" y="269"/>
                      <a:pt x="5" y="3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39" name="Freeform 10">
                <a:extLst>
                  <a:ext uri="{FF2B5EF4-FFF2-40B4-BE49-F238E27FC236}">
                    <a16:creationId xmlns:a16="http://schemas.microsoft.com/office/drawing/2014/main" id="{6E5CC9C5-4FA4-5C45-9C14-5D8BE812CE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3838" y="2589213"/>
                <a:ext cx="490538" cy="1017587"/>
              </a:xfrm>
              <a:custGeom>
                <a:avLst/>
                <a:gdLst>
                  <a:gd name="T0" fmla="*/ 159 w 180"/>
                  <a:gd name="T1" fmla="*/ 332 h 373"/>
                  <a:gd name="T2" fmla="*/ 149 w 180"/>
                  <a:gd name="T3" fmla="*/ 229 h 373"/>
                  <a:gd name="T4" fmla="*/ 163 w 180"/>
                  <a:gd name="T5" fmla="*/ 173 h 373"/>
                  <a:gd name="T6" fmla="*/ 174 w 180"/>
                  <a:gd name="T7" fmla="*/ 15 h 373"/>
                  <a:gd name="T8" fmla="*/ 168 w 180"/>
                  <a:gd name="T9" fmla="*/ 4 h 373"/>
                  <a:gd name="T10" fmla="*/ 143 w 180"/>
                  <a:gd name="T11" fmla="*/ 113 h 373"/>
                  <a:gd name="T12" fmla="*/ 129 w 180"/>
                  <a:gd name="T13" fmla="*/ 237 h 373"/>
                  <a:gd name="T14" fmla="*/ 30 w 180"/>
                  <a:gd name="T15" fmla="*/ 208 h 373"/>
                  <a:gd name="T16" fmla="*/ 96 w 180"/>
                  <a:gd name="T17" fmla="*/ 179 h 373"/>
                  <a:gd name="T18" fmla="*/ 100 w 180"/>
                  <a:gd name="T19" fmla="*/ 167 h 373"/>
                  <a:gd name="T20" fmla="*/ 23 w 180"/>
                  <a:gd name="T21" fmla="*/ 187 h 373"/>
                  <a:gd name="T22" fmla="*/ 85 w 180"/>
                  <a:gd name="T23" fmla="*/ 268 h 373"/>
                  <a:gd name="T24" fmla="*/ 141 w 180"/>
                  <a:gd name="T25" fmla="*/ 241 h 373"/>
                  <a:gd name="T26" fmla="*/ 118 w 180"/>
                  <a:gd name="T27" fmla="*/ 352 h 373"/>
                  <a:gd name="T28" fmla="*/ 87 w 180"/>
                  <a:gd name="T29" fmla="*/ 320 h 373"/>
                  <a:gd name="T30" fmla="*/ 124 w 180"/>
                  <a:gd name="T31" fmla="*/ 323 h 373"/>
                  <a:gd name="T32" fmla="*/ 136 w 180"/>
                  <a:gd name="T33" fmla="*/ 323 h 373"/>
                  <a:gd name="T34" fmla="*/ 89 w 180"/>
                  <a:gd name="T35" fmla="*/ 302 h 373"/>
                  <a:gd name="T36" fmla="*/ 94 w 180"/>
                  <a:gd name="T37" fmla="*/ 362 h 373"/>
                  <a:gd name="T38" fmla="*/ 159 w 180"/>
                  <a:gd name="T39" fmla="*/ 332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0" h="373">
                    <a:moveTo>
                      <a:pt x="159" y="332"/>
                    </a:moveTo>
                    <a:cubicBezTo>
                      <a:pt x="170" y="301"/>
                      <a:pt x="162" y="259"/>
                      <a:pt x="149" y="229"/>
                    </a:cubicBezTo>
                    <a:cubicBezTo>
                      <a:pt x="158" y="212"/>
                      <a:pt x="163" y="193"/>
                      <a:pt x="163" y="173"/>
                    </a:cubicBezTo>
                    <a:cubicBezTo>
                      <a:pt x="166" y="125"/>
                      <a:pt x="127" y="51"/>
                      <a:pt x="174" y="15"/>
                    </a:cubicBezTo>
                    <a:cubicBezTo>
                      <a:pt x="180" y="10"/>
                      <a:pt x="174" y="0"/>
                      <a:pt x="168" y="4"/>
                    </a:cubicBezTo>
                    <a:cubicBezTo>
                      <a:pt x="134" y="30"/>
                      <a:pt x="136" y="76"/>
                      <a:pt x="143" y="113"/>
                    </a:cubicBezTo>
                    <a:cubicBezTo>
                      <a:pt x="151" y="154"/>
                      <a:pt x="160" y="203"/>
                      <a:pt x="129" y="237"/>
                    </a:cubicBezTo>
                    <a:cubicBezTo>
                      <a:pt x="100" y="269"/>
                      <a:pt x="27" y="259"/>
                      <a:pt x="30" y="208"/>
                    </a:cubicBezTo>
                    <a:cubicBezTo>
                      <a:pt x="32" y="173"/>
                      <a:pt x="70" y="170"/>
                      <a:pt x="96" y="179"/>
                    </a:cubicBezTo>
                    <a:cubicBezTo>
                      <a:pt x="104" y="181"/>
                      <a:pt x="107" y="169"/>
                      <a:pt x="100" y="167"/>
                    </a:cubicBezTo>
                    <a:cubicBezTo>
                      <a:pt x="73" y="158"/>
                      <a:pt x="38" y="159"/>
                      <a:pt x="23" y="187"/>
                    </a:cubicBezTo>
                    <a:cubicBezTo>
                      <a:pt x="0" y="232"/>
                      <a:pt x="43" y="268"/>
                      <a:pt x="85" y="268"/>
                    </a:cubicBezTo>
                    <a:cubicBezTo>
                      <a:pt x="110" y="268"/>
                      <a:pt x="128" y="257"/>
                      <a:pt x="141" y="241"/>
                    </a:cubicBezTo>
                    <a:cubicBezTo>
                      <a:pt x="154" y="278"/>
                      <a:pt x="164" y="340"/>
                      <a:pt x="118" y="352"/>
                    </a:cubicBezTo>
                    <a:cubicBezTo>
                      <a:pt x="99" y="357"/>
                      <a:pt x="77" y="341"/>
                      <a:pt x="87" y="320"/>
                    </a:cubicBezTo>
                    <a:cubicBezTo>
                      <a:pt x="93" y="306"/>
                      <a:pt x="125" y="305"/>
                      <a:pt x="124" y="323"/>
                    </a:cubicBezTo>
                    <a:cubicBezTo>
                      <a:pt x="123" y="331"/>
                      <a:pt x="136" y="331"/>
                      <a:pt x="136" y="323"/>
                    </a:cubicBezTo>
                    <a:cubicBezTo>
                      <a:pt x="138" y="298"/>
                      <a:pt x="107" y="293"/>
                      <a:pt x="89" y="302"/>
                    </a:cubicBezTo>
                    <a:cubicBezTo>
                      <a:pt x="63" y="314"/>
                      <a:pt x="71" y="352"/>
                      <a:pt x="94" y="362"/>
                    </a:cubicBezTo>
                    <a:cubicBezTo>
                      <a:pt x="118" y="373"/>
                      <a:pt x="150" y="357"/>
                      <a:pt x="159" y="33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295862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Title 1">
            <a:extLst>
              <a:ext uri="{FF2B5EF4-FFF2-40B4-BE49-F238E27FC236}">
                <a16:creationId xmlns:a16="http://schemas.microsoft.com/office/drawing/2014/main" id="{59D6653B-D70A-4B0C-B4CE-D345141196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6295" y="1159870"/>
            <a:ext cx="9131808" cy="760110"/>
          </a:xfrm>
        </p:spPr>
        <p:txBody>
          <a:bodyPr>
            <a:noAutofit/>
          </a:bodyPr>
          <a:lstStyle/>
          <a:p>
            <a:pPr algn="ctr"/>
            <a:r>
              <a:rPr lang="en-IN" sz="2400" b="1" cap="all" dirty="0">
                <a:latin typeface="+mn-lt"/>
                <a:ea typeface="+mn-ea"/>
                <a:cs typeface="+mn-cs"/>
              </a:rPr>
              <a:t>Program-Program </a:t>
            </a:r>
            <a:r>
              <a:rPr lang="en-IN" sz="2400" b="1" cap="all" dirty="0" err="1">
                <a:latin typeface="+mn-lt"/>
                <a:ea typeface="+mn-ea"/>
                <a:cs typeface="+mn-cs"/>
              </a:rPr>
              <a:t>Inisiatif</a:t>
            </a:r>
            <a:r>
              <a:rPr lang="en-IN" sz="3200" b="1" cap="all" dirty="0">
                <a:latin typeface="+mn-lt"/>
                <a:ea typeface="+mn-ea"/>
                <a:cs typeface="+mn-cs"/>
              </a:rPr>
              <a:t> </a:t>
            </a:r>
            <a:br>
              <a:rPr lang="en-IN" sz="2800" b="1" cap="all" dirty="0">
                <a:latin typeface="+mn-lt"/>
                <a:ea typeface="+mn-ea"/>
                <a:cs typeface="+mn-cs"/>
              </a:rPr>
            </a:br>
            <a:r>
              <a:rPr lang="en-IN" sz="2800" b="1" cap="all" dirty="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JANGKA PENDEK 2020-2021</a:t>
            </a:r>
            <a:endParaRPr lang="en-IN" sz="2000" b="1" cap="all" dirty="0">
              <a:solidFill>
                <a:schemeClr val="accent5">
                  <a:lumMod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12B1BD23-1AB3-C143-8979-80C45515D4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3640163"/>
              </p:ext>
            </p:extLst>
          </p:nvPr>
        </p:nvGraphicFramePr>
        <p:xfrm>
          <a:off x="727456" y="1975442"/>
          <a:ext cx="11135361" cy="4702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11787">
                  <a:extLst>
                    <a:ext uri="{9D8B030D-6E8A-4147-A177-3AD203B41FA5}">
                      <a16:colId xmlns:a16="http://schemas.microsoft.com/office/drawing/2014/main" val="4064172326"/>
                    </a:ext>
                  </a:extLst>
                </a:gridCol>
                <a:gridCol w="3711787">
                  <a:extLst>
                    <a:ext uri="{9D8B030D-6E8A-4147-A177-3AD203B41FA5}">
                      <a16:colId xmlns:a16="http://schemas.microsoft.com/office/drawing/2014/main" val="1687557817"/>
                    </a:ext>
                  </a:extLst>
                </a:gridCol>
                <a:gridCol w="3711787">
                  <a:extLst>
                    <a:ext uri="{9D8B030D-6E8A-4147-A177-3AD203B41FA5}">
                      <a16:colId xmlns:a16="http://schemas.microsoft.com/office/drawing/2014/main" val="1396022461"/>
                    </a:ext>
                  </a:extLst>
                </a:gridCol>
              </a:tblGrid>
              <a:tr h="51172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err="1">
                          <a:solidFill>
                            <a:schemeClr val="bg1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Sasaran</a:t>
                      </a:r>
                      <a:r>
                        <a:rPr lang="en-US" sz="1800" dirty="0">
                          <a:solidFill>
                            <a:schemeClr val="bg1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Program</a:t>
                      </a:r>
                    </a:p>
                  </a:txBody>
                  <a:tcPr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>
                          <a:solidFill>
                            <a:schemeClr val="bg1"/>
                          </a:solidFill>
                          <a:latin typeface="Proxima Nova" panose="02000506030000020004" pitchFamily="2" charset="0"/>
                        </a:rPr>
                        <a:t>Aktor</a:t>
                      </a:r>
                      <a:endParaRPr lang="en-US" dirty="0">
                        <a:solidFill>
                          <a:schemeClr val="bg1"/>
                        </a:solidFill>
                        <a:latin typeface="Proxima Nova" panose="02000506030000020004" pitchFamily="2" charset="0"/>
                      </a:endParaRPr>
                    </a:p>
                  </a:txBody>
                  <a:tcPr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>
                          <a:solidFill>
                            <a:schemeClr val="bg1"/>
                          </a:solidFill>
                          <a:latin typeface="Proxima Nova" panose="02000506030000020004" pitchFamily="2" charset="0"/>
                        </a:rPr>
                        <a:t>Kegiatan</a:t>
                      </a:r>
                      <a:endParaRPr lang="en-US" dirty="0">
                        <a:solidFill>
                          <a:schemeClr val="bg1"/>
                        </a:solidFill>
                        <a:latin typeface="Proxima Nova" panose="02000506030000020004" pitchFamily="2" charset="0"/>
                      </a:endParaRPr>
                    </a:p>
                  </a:txBody>
                  <a:tcPr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1259289"/>
                  </a:ext>
                </a:extLst>
              </a:tr>
              <a:tr h="1027092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400" b="1" dirty="0" err="1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Menguatnya</a:t>
                      </a:r>
                      <a:r>
                        <a:rPr lang="en-US" sz="1400" b="1" dirty="0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400" b="1" dirty="0" err="1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kolaborasi</a:t>
                      </a:r>
                      <a:r>
                        <a:rPr lang="en-US" sz="1400" b="1" dirty="0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Quadruple-Helix </a:t>
                      </a:r>
                      <a:r>
                        <a:rPr lang="en-US" sz="1400" dirty="0" err="1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dalam</a:t>
                      </a:r>
                      <a:r>
                        <a:rPr lang="en-US" sz="1400" dirty="0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400" dirty="0" err="1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mendukung</a:t>
                      </a:r>
                      <a:r>
                        <a:rPr lang="en-US" sz="1400" dirty="0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400" dirty="0" err="1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riset</a:t>
                      </a:r>
                      <a:r>
                        <a:rPr lang="en-US" sz="1400" dirty="0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dan </a:t>
                      </a:r>
                      <a:r>
                        <a:rPr lang="en-US" sz="1400" dirty="0" err="1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inovasi</a:t>
                      </a:r>
                      <a:r>
                        <a:rPr lang="en-US" sz="1400" dirty="0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400" dirty="0" err="1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teknologi</a:t>
                      </a:r>
                      <a:r>
                        <a:rPr lang="en-US" sz="1400" dirty="0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400" dirty="0" err="1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Kecerdasan</a:t>
                      </a:r>
                      <a:r>
                        <a:rPr lang="en-US" sz="1400" dirty="0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400" dirty="0" err="1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Artifisial</a:t>
                      </a:r>
                      <a:endParaRPr lang="en-US" sz="1400" dirty="0">
                        <a:solidFill>
                          <a:prstClr val="black"/>
                        </a:solidFill>
                        <a:latin typeface="Proxima Nova" panose="02000506030000020004" pitchFamily="2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defTabSz="1218987"/>
                      <a:r>
                        <a:rPr lang="en-US" sz="1100" b="1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Utama</a:t>
                      </a:r>
                      <a:r>
                        <a:rPr lang="en-US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: </a:t>
                      </a:r>
                      <a:r>
                        <a:rPr lang="en-US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Kemenristek</a:t>
                      </a:r>
                      <a:r>
                        <a:rPr lang="en-US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/BRIN</a:t>
                      </a:r>
                      <a:endParaRPr lang="en-US" sz="1100" b="1" kern="0" dirty="0">
                        <a:solidFill>
                          <a:prstClr val="black">
                            <a:lumMod val="85000"/>
                            <a:lumOff val="15000"/>
                          </a:prst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defTabSz="1218987"/>
                      <a:r>
                        <a:rPr lang="en-US" sz="1100" b="1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Penanggung</a:t>
                      </a:r>
                      <a:r>
                        <a:rPr lang="en-US" sz="1100" b="1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 Jawab</a:t>
                      </a:r>
                      <a:r>
                        <a:rPr lang="en-US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: </a:t>
                      </a:r>
                      <a:r>
                        <a:rPr lang="en-US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Kemenperin</a:t>
                      </a:r>
                      <a:r>
                        <a:rPr lang="en-US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en-US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Kemendikbud</a:t>
                      </a:r>
                      <a:r>
                        <a:rPr lang="en-US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, BPPT</a:t>
                      </a:r>
                    </a:p>
                    <a:p>
                      <a:pPr defTabSz="1218987"/>
                      <a:endParaRPr lang="en-US" sz="1100" kern="0" dirty="0">
                        <a:solidFill>
                          <a:prstClr val="black">
                            <a:lumMod val="85000"/>
                            <a:lumOff val="15000"/>
                          </a:prst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defTabSz="1218987"/>
                      <a:r>
                        <a:rPr lang="en-US" sz="1100" b="1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Konsultatif</a:t>
                      </a:r>
                      <a:r>
                        <a:rPr lang="en-US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: </a:t>
                      </a:r>
                      <a:r>
                        <a:rPr lang="en-US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Kemenko</a:t>
                      </a:r>
                      <a:r>
                        <a:rPr lang="en-US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Polhukam,Kemenko</a:t>
                      </a:r>
                      <a:r>
                        <a:rPr lang="en-US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Ekonomi</a:t>
                      </a:r>
                      <a:r>
                        <a:rPr lang="en-US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en-US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Kemenko</a:t>
                      </a:r>
                      <a:r>
                        <a:rPr lang="en-US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 PMK, </a:t>
                      </a:r>
                      <a:r>
                        <a:rPr lang="en-US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Kemenkomarves</a:t>
                      </a:r>
                      <a:r>
                        <a:rPr lang="en-US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en-US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Kemenhan</a:t>
                      </a:r>
                      <a:r>
                        <a:rPr lang="en-US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en-US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Kemenkum</a:t>
                      </a:r>
                      <a:r>
                        <a:rPr lang="en-US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 HAM, </a:t>
                      </a:r>
                      <a:r>
                        <a:rPr lang="en-US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Kemenkominfo</a:t>
                      </a:r>
                      <a:r>
                        <a:rPr lang="en-US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en-US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Kemenkeu</a:t>
                      </a:r>
                      <a:r>
                        <a:rPr lang="en-US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en-US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Kemendag</a:t>
                      </a:r>
                      <a:r>
                        <a:rPr lang="en-US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en-US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Kemen</a:t>
                      </a:r>
                      <a:r>
                        <a:rPr lang="en-US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 BUMN, BKPM, BPS, </a:t>
                      </a:r>
                      <a:r>
                        <a:rPr lang="en-US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Perguruan</a:t>
                      </a:r>
                      <a:r>
                        <a:rPr lang="en-US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 Tinggi, </a:t>
                      </a:r>
                      <a:r>
                        <a:rPr lang="en-US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Asosiasi-asosiasi</a:t>
                      </a:r>
                      <a:r>
                        <a:rPr lang="en-US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terkait</a:t>
                      </a:r>
                      <a:r>
                        <a:rPr lang="en-US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en-US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Pelaku</a:t>
                      </a:r>
                      <a:r>
                        <a:rPr lang="en-US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industri</a:t>
                      </a:r>
                      <a:r>
                        <a:rPr lang="en-US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 dan start-up </a:t>
                      </a:r>
                      <a:r>
                        <a:rPr lang="en-US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terkait</a:t>
                      </a:r>
                      <a:endParaRPr lang="en-US" sz="1100" kern="0" dirty="0">
                        <a:solidFill>
                          <a:prstClr val="black">
                            <a:lumMod val="85000"/>
                            <a:lumOff val="15000"/>
                          </a:prst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marR="0" indent="-228600" algn="l" rtl="0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SzPct val="100000"/>
                        <a:buFont typeface="+mj-lt"/>
                        <a:buAutoNum type="arabicPeriod"/>
                      </a:pP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nyusunan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ebijakan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an strategi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asional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entang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im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rkestrator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iset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an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ovasi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dustri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ecerdasan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rtifisial</a:t>
                      </a:r>
                      <a:endParaRPr lang="en-ID" sz="1100" dirty="0">
                        <a:solidFill>
                          <a:srgbClr val="000000"/>
                        </a:solidFill>
                        <a:latin typeface="Proxima Nova" panose="02000506030000020004" pitchFamily="2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228600" marR="0" indent="-228600" algn="l" rtl="0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SzPct val="100000"/>
                        <a:buFont typeface="+mj-lt"/>
                        <a:buAutoNum type="arabicPeriod"/>
                      </a:pP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mbentukan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rkestrator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iset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an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ovasi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dustri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ecerdasan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rtifisial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KORI-KA)</a:t>
                      </a:r>
                      <a:endParaRPr lang="en-ID" sz="1100" dirty="0">
                        <a:latin typeface="Proxima Nova" panose="02000506030000020004" pitchFamily="2" charset="0"/>
                      </a:endParaRPr>
                    </a:p>
                    <a:p>
                      <a:pPr marL="228600" marR="0" indent="-228600" algn="l" rtl="0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SzPct val="100000"/>
                        <a:buFont typeface="+mj-lt"/>
                        <a:buAutoNum type="arabicPeriod"/>
                      </a:pP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nguatan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tata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elola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iset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an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ovasi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dustri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unggulan</a:t>
                      </a:r>
                      <a:endParaRPr lang="id-ID" sz="1100" i="0" u="none" strike="noStrike" dirty="0">
                        <a:effectLst/>
                        <a:latin typeface="Proxima Nova" panose="02000506030000020004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9784757"/>
                  </a:ext>
                </a:extLst>
              </a:tr>
              <a:tr h="1027092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2"/>
                        <a:tabLst/>
                        <a:defRPr/>
                      </a:pPr>
                      <a:r>
                        <a:rPr lang="en-US" sz="1400" b="1" dirty="0" err="1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Terwujudnya</a:t>
                      </a:r>
                      <a:r>
                        <a:rPr lang="en-US" sz="1400" b="1" dirty="0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400" b="1" dirty="0" err="1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produk</a:t>
                      </a:r>
                      <a:r>
                        <a:rPr lang="en-US" sz="1400" dirty="0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, </a:t>
                      </a:r>
                      <a:r>
                        <a:rPr lang="en-US" sz="1400" dirty="0" err="1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solusi</a:t>
                      </a:r>
                      <a:r>
                        <a:rPr lang="en-US" sz="1400" dirty="0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, dan </a:t>
                      </a:r>
                      <a:r>
                        <a:rPr lang="en-US" sz="1400" dirty="0" err="1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layanan</a:t>
                      </a:r>
                      <a:r>
                        <a:rPr lang="en-US" sz="1400" dirty="0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400" dirty="0" err="1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teknologi</a:t>
                      </a:r>
                      <a:r>
                        <a:rPr lang="en-US" sz="1400" dirty="0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400" dirty="0" err="1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Kecerdasan</a:t>
                      </a:r>
                      <a:r>
                        <a:rPr lang="en-US" sz="1400" dirty="0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400" dirty="0" err="1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Artifisial</a:t>
                      </a:r>
                      <a:r>
                        <a:rPr lang="en-US" sz="1400" dirty="0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yang </a:t>
                      </a:r>
                      <a:r>
                        <a:rPr lang="en-US" sz="1400" dirty="0" err="1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terkait</a:t>
                      </a:r>
                      <a:r>
                        <a:rPr lang="en-US" sz="1400" dirty="0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400" dirty="0" err="1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dengan</a:t>
                      </a:r>
                      <a:r>
                        <a:rPr lang="en-US" sz="1400" dirty="0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400" b="1" dirty="0" err="1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keberagaman</a:t>
                      </a:r>
                      <a:r>
                        <a:rPr lang="en-US" sz="1400" b="1" dirty="0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dan </a:t>
                      </a:r>
                      <a:r>
                        <a:rPr lang="en-US" sz="1400" b="1" dirty="0" err="1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kearifan</a:t>
                      </a:r>
                      <a:r>
                        <a:rPr lang="en-US" sz="1400" b="1" dirty="0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local Indones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defTabSz="1218987"/>
                      <a:r>
                        <a:rPr lang="en-SG" sz="1100" b="1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Utama</a:t>
                      </a:r>
                      <a:r>
                        <a:rPr lang="en-SG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: KORI-KA</a:t>
                      </a:r>
                    </a:p>
                    <a:p>
                      <a:pPr defTabSz="1218987"/>
                      <a:r>
                        <a:rPr lang="en-SG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</a:p>
                    <a:p>
                      <a:pPr defTabSz="1218987"/>
                      <a:r>
                        <a:rPr lang="en-SG" sz="1100" b="1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Konsultatif</a:t>
                      </a:r>
                      <a:r>
                        <a:rPr lang="en-SG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: </a:t>
                      </a:r>
                      <a:r>
                        <a:rPr lang="en-SG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Kemenristek</a:t>
                      </a:r>
                      <a:r>
                        <a:rPr lang="en-SG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/BRIN, </a:t>
                      </a:r>
                      <a:r>
                        <a:rPr lang="en-SG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Kemenperin</a:t>
                      </a:r>
                      <a:r>
                        <a:rPr lang="en-SG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en-SG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Kemendikbud</a:t>
                      </a:r>
                      <a:r>
                        <a:rPr lang="en-SG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en-SG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Kemenhan</a:t>
                      </a:r>
                      <a:r>
                        <a:rPr lang="en-SG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en-SG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Kemenkominfo</a:t>
                      </a:r>
                      <a:r>
                        <a:rPr lang="en-SG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en-SG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Kemenkeu</a:t>
                      </a:r>
                      <a:r>
                        <a:rPr lang="en-SG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en-SG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Kemendag</a:t>
                      </a:r>
                      <a:r>
                        <a:rPr lang="en-SG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en-SG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Kemen</a:t>
                      </a:r>
                      <a:r>
                        <a:rPr lang="en-SG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 BUMN, BPPT, BKPM, BPS, </a:t>
                      </a:r>
                      <a:r>
                        <a:rPr lang="en-SG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Perguruan</a:t>
                      </a:r>
                      <a:r>
                        <a:rPr lang="en-SG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 Tinggi, </a:t>
                      </a:r>
                      <a:r>
                        <a:rPr lang="en-SG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Pelaku</a:t>
                      </a:r>
                      <a:r>
                        <a:rPr lang="en-SG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SG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Industri</a:t>
                      </a:r>
                      <a:r>
                        <a:rPr lang="en-SG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 dan Start-up </a:t>
                      </a:r>
                      <a:r>
                        <a:rPr lang="en-SG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Arial" pitchFamily="34" charset="0"/>
                          <a:cs typeface="Arial" pitchFamily="34" charset="0"/>
                        </a:rPr>
                        <a:t>terkait</a:t>
                      </a:r>
                      <a:endParaRPr lang="en-SG" sz="1100" kern="0" dirty="0">
                        <a:solidFill>
                          <a:prstClr val="black">
                            <a:lumMod val="85000"/>
                            <a:lumOff val="15000"/>
                          </a:prst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indent="-228600" defTabSz="1218987">
                        <a:spcAft>
                          <a:spcPts val="600"/>
                        </a:spcAft>
                        <a:buSzPct val="100000"/>
                        <a:buFont typeface="+mj-lt"/>
                        <a:buAutoNum type="arabicPeriod" startAt="4"/>
                      </a:pP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Inisiasi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proyek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percontohan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riset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dan </a:t>
                      </a: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inovasi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industri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Kecerdasan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Artifisial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untuk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sektor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publik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(</a:t>
                      </a: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pendidikan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, </a:t>
                      </a: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kesehatan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, </a:t>
                      </a: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transportasi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, dan </a:t>
                      </a: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layanan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publik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)</a:t>
                      </a:r>
                    </a:p>
                    <a:p>
                      <a:pPr marL="228600" indent="-228600" defTabSz="1218987">
                        <a:spcAft>
                          <a:spcPts val="600"/>
                        </a:spcAft>
                        <a:buSzPct val="100000"/>
                        <a:buFont typeface="+mj-lt"/>
                        <a:buAutoNum type="arabicPeriod" startAt="4"/>
                      </a:pP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Implementasi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proyek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percontohan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riset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dan </a:t>
                      </a: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inovasi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industri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Kecerdasan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Artifisial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nasional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untuk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sektor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publik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(</a:t>
                      </a: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pendidikan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, </a:t>
                      </a: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kesehatan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, </a:t>
                      </a: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transportasi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, dan </a:t>
                      </a: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layanan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100" kern="0" dirty="0" err="1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publik</a:t>
                      </a:r>
                      <a:r>
                        <a:rPr lang="en-US" sz="1100" kern="0" dirty="0">
                          <a:solidFill>
                            <a:srgbClr val="000B24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22533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3"/>
                        <a:tabLst/>
                        <a:defRPr/>
                      </a:pPr>
                      <a:r>
                        <a:rPr lang="en-SG" sz="1400" dirty="0" err="1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Meningkatnya</a:t>
                      </a:r>
                      <a:r>
                        <a:rPr lang="en-SG" sz="1400" dirty="0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SG" sz="1400" b="0" dirty="0" err="1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implementasi</a:t>
                      </a:r>
                      <a:r>
                        <a:rPr lang="en-SG" sz="1400" b="0" dirty="0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SG" sz="1400" b="1" dirty="0" err="1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sistem</a:t>
                      </a:r>
                      <a:r>
                        <a:rPr lang="en-SG" sz="1400" b="1" dirty="0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SG" sz="1400" b="1" dirty="0" err="1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inovasi</a:t>
                      </a:r>
                      <a:r>
                        <a:rPr lang="en-SG" sz="1400" b="1" dirty="0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SG" sz="1400" b="1" dirty="0" err="1">
                          <a:solidFill>
                            <a:prstClr val="black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nasional</a:t>
                      </a:r>
                      <a:endParaRPr lang="en-SG" sz="1400" b="1" dirty="0">
                        <a:solidFill>
                          <a:prstClr val="black"/>
                        </a:solidFill>
                        <a:latin typeface="Proxima Nova" panose="02000506030000020004" pitchFamily="2" charset="0"/>
                        <a:cs typeface="Arial" pitchFamily="34" charset="0"/>
                      </a:endParaRPr>
                    </a:p>
                    <a:p>
                      <a:endParaRPr lang="en-US" sz="1400" dirty="0">
                        <a:latin typeface="Proxima Nova" panose="02000506030000020004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defTabSz="1218987"/>
                      <a:r>
                        <a:rPr lang="en-SG" sz="1100" b="1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Utama</a:t>
                      </a:r>
                      <a:r>
                        <a:rPr lang="en-SG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: KORI-KA</a:t>
                      </a:r>
                    </a:p>
                    <a:p>
                      <a:pPr defTabSz="1218987"/>
                      <a:r>
                        <a:rPr lang="en-SG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 </a:t>
                      </a:r>
                    </a:p>
                    <a:p>
                      <a:pPr defTabSz="1218987"/>
                      <a:r>
                        <a:rPr lang="en-SG" sz="1100" b="1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Konsultatif</a:t>
                      </a:r>
                      <a:r>
                        <a:rPr lang="en-SG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: </a:t>
                      </a:r>
                      <a:r>
                        <a:rPr lang="en-SG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Kemenristek</a:t>
                      </a:r>
                      <a:r>
                        <a:rPr lang="en-SG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/BRIN, </a:t>
                      </a:r>
                      <a:r>
                        <a:rPr lang="en-SG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Kemendikbud</a:t>
                      </a:r>
                      <a:r>
                        <a:rPr lang="en-SG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, </a:t>
                      </a:r>
                      <a:r>
                        <a:rPr lang="en-SG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Kemenperin</a:t>
                      </a:r>
                      <a:r>
                        <a:rPr lang="en-SG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, BPPT, </a:t>
                      </a:r>
                      <a:r>
                        <a:rPr lang="en-SG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Perguruan</a:t>
                      </a:r>
                      <a:r>
                        <a:rPr lang="en-SG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Tinggi, </a:t>
                      </a:r>
                      <a:r>
                        <a:rPr lang="en-SG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Asosiasi-asosiasi</a:t>
                      </a:r>
                      <a:r>
                        <a:rPr lang="en-SG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SG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terkait</a:t>
                      </a:r>
                      <a:r>
                        <a:rPr lang="en-SG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, </a:t>
                      </a:r>
                      <a:r>
                        <a:rPr lang="en-SG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Pelaku</a:t>
                      </a:r>
                      <a:r>
                        <a:rPr lang="en-SG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SG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industri</a:t>
                      </a:r>
                      <a:r>
                        <a:rPr lang="en-SG" sz="11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dan start-up </a:t>
                      </a:r>
                      <a:r>
                        <a:rPr lang="en-SG" sz="11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terkait</a:t>
                      </a:r>
                      <a:endParaRPr lang="en-SG" sz="1100" kern="0" dirty="0">
                        <a:solidFill>
                          <a:prstClr val="black">
                            <a:lumMod val="85000"/>
                            <a:lumOff val="15000"/>
                          </a:prstClr>
                        </a:solidFill>
                        <a:latin typeface="Proxima Nova" panose="02000506030000020004" pitchFamily="2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marR="0" indent="-228600" algn="l" rtl="0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SzPct val="100000"/>
                        <a:buFont typeface="+mj-lt"/>
                        <a:buAutoNum type="arabicPeriod" startAt="6"/>
                      </a:pP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isiasi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ebijakan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istem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ovasi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asional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untuk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ecerdasan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rtifisial</a:t>
                      </a:r>
                      <a:endParaRPr lang="en-ID" sz="1100" dirty="0">
                        <a:latin typeface="Proxima Nova" panose="02000506030000020004" pitchFamily="2" charset="0"/>
                      </a:endParaRPr>
                    </a:p>
                    <a:p>
                      <a:pPr marL="228600" marR="0" indent="-228600" algn="l" rtl="0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SzPct val="100000"/>
                        <a:buFont typeface="+mj-lt"/>
                        <a:buAutoNum type="arabicPeriod" startAt="6"/>
                      </a:pP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nyempurnaan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ebijakan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istem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ovasi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asional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ada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spek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ecerdasan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rtifisial</a:t>
                      </a:r>
                      <a:endParaRPr lang="en-ID" sz="1100" dirty="0">
                        <a:latin typeface="Proxima Nova" panose="02000506030000020004" pitchFamily="2" charset="0"/>
                      </a:endParaRPr>
                    </a:p>
                    <a:p>
                      <a:pPr marL="228600" marR="0" indent="-228600" algn="l" rtl="0" fontAlgn="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SzPct val="100000"/>
                        <a:buFont typeface="+mj-lt"/>
                        <a:buAutoNum type="arabicPeriod" startAt="6"/>
                      </a:pP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encanaan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tegrasi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kosistem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ovasi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ecerdasan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rtifisial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ntar</a:t>
                      </a:r>
                      <a:r>
                        <a:rPr lang="en-SG" sz="110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10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ktor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latin typeface="Proxima Nova" panose="02000506030000020004" pitchFamily="2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18641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20593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Title 1">
            <a:extLst>
              <a:ext uri="{FF2B5EF4-FFF2-40B4-BE49-F238E27FC236}">
                <a16:creationId xmlns:a16="http://schemas.microsoft.com/office/drawing/2014/main" id="{59D6653B-D70A-4B0C-B4CE-D345141196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6295" y="1159870"/>
            <a:ext cx="9131808" cy="760110"/>
          </a:xfrm>
        </p:spPr>
        <p:txBody>
          <a:bodyPr>
            <a:noAutofit/>
          </a:bodyPr>
          <a:lstStyle/>
          <a:p>
            <a:pPr algn="ctr"/>
            <a:r>
              <a:rPr lang="en-IN" sz="2400" b="1" cap="all" dirty="0">
                <a:latin typeface="+mn-lt"/>
                <a:ea typeface="+mn-ea"/>
                <a:cs typeface="+mn-cs"/>
              </a:rPr>
              <a:t>Program-Program </a:t>
            </a:r>
            <a:r>
              <a:rPr lang="en-IN" sz="2400" b="1" cap="all" dirty="0" err="1">
                <a:latin typeface="+mn-lt"/>
                <a:ea typeface="+mn-ea"/>
                <a:cs typeface="+mn-cs"/>
              </a:rPr>
              <a:t>Inisiatif</a:t>
            </a:r>
            <a:r>
              <a:rPr lang="en-IN" sz="3200" b="1" cap="all" dirty="0">
                <a:latin typeface="+mn-lt"/>
                <a:ea typeface="+mn-ea"/>
                <a:cs typeface="+mn-cs"/>
              </a:rPr>
              <a:t> </a:t>
            </a:r>
            <a:br>
              <a:rPr lang="en-IN" sz="2800" b="1" cap="all" dirty="0">
                <a:latin typeface="+mn-lt"/>
                <a:ea typeface="+mn-ea"/>
                <a:cs typeface="+mn-cs"/>
              </a:rPr>
            </a:br>
            <a:r>
              <a:rPr lang="en-IN" sz="2800" b="1" cap="all" dirty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JANGKA MENENGAH 2020-2024</a:t>
            </a:r>
            <a:endParaRPr lang="en-IN" sz="2000" b="1" cap="all" dirty="0">
              <a:solidFill>
                <a:schemeClr val="bg2">
                  <a:lumMod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12B1BD23-1AB3-C143-8979-80C45515D4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326603"/>
              </p:ext>
            </p:extLst>
          </p:nvPr>
        </p:nvGraphicFramePr>
        <p:xfrm>
          <a:off x="727456" y="1975442"/>
          <a:ext cx="11135361" cy="39087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11787">
                  <a:extLst>
                    <a:ext uri="{9D8B030D-6E8A-4147-A177-3AD203B41FA5}">
                      <a16:colId xmlns:a16="http://schemas.microsoft.com/office/drawing/2014/main" val="4064172326"/>
                    </a:ext>
                  </a:extLst>
                </a:gridCol>
                <a:gridCol w="3711787">
                  <a:extLst>
                    <a:ext uri="{9D8B030D-6E8A-4147-A177-3AD203B41FA5}">
                      <a16:colId xmlns:a16="http://schemas.microsoft.com/office/drawing/2014/main" val="1687557817"/>
                    </a:ext>
                  </a:extLst>
                </a:gridCol>
                <a:gridCol w="3711787">
                  <a:extLst>
                    <a:ext uri="{9D8B030D-6E8A-4147-A177-3AD203B41FA5}">
                      <a16:colId xmlns:a16="http://schemas.microsoft.com/office/drawing/2014/main" val="1396022461"/>
                    </a:ext>
                  </a:extLst>
                </a:gridCol>
              </a:tblGrid>
              <a:tr h="51172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err="1">
                          <a:solidFill>
                            <a:schemeClr val="bg1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Sasaran</a:t>
                      </a:r>
                      <a:r>
                        <a:rPr lang="en-US" sz="1800" dirty="0">
                          <a:solidFill>
                            <a:schemeClr val="bg1"/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Program</a:t>
                      </a:r>
                    </a:p>
                  </a:txBody>
                  <a:tcPr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>
                          <a:solidFill>
                            <a:schemeClr val="bg1"/>
                          </a:solidFill>
                          <a:latin typeface="Proxima Nova" panose="02000506030000020004" pitchFamily="2" charset="0"/>
                        </a:rPr>
                        <a:t>Aktor</a:t>
                      </a:r>
                      <a:endParaRPr lang="en-US" dirty="0">
                        <a:solidFill>
                          <a:schemeClr val="bg1"/>
                        </a:solidFill>
                        <a:latin typeface="Proxima Nova" panose="02000506030000020004" pitchFamily="2" charset="0"/>
                      </a:endParaRPr>
                    </a:p>
                  </a:txBody>
                  <a:tcPr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>
                          <a:solidFill>
                            <a:schemeClr val="bg1"/>
                          </a:solidFill>
                          <a:latin typeface="Proxima Nova" panose="02000506030000020004" pitchFamily="2" charset="0"/>
                        </a:rPr>
                        <a:t>Kegiatan</a:t>
                      </a:r>
                      <a:endParaRPr lang="en-US" dirty="0">
                        <a:solidFill>
                          <a:schemeClr val="bg1"/>
                        </a:solidFill>
                        <a:latin typeface="Proxima Nova" panose="02000506030000020004" pitchFamily="2" charset="0"/>
                      </a:endParaRPr>
                    </a:p>
                  </a:txBody>
                  <a:tcPr anchor="ctr"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1259289"/>
                  </a:ext>
                </a:extLst>
              </a:tr>
              <a:tr h="1296078">
                <a:tc>
                  <a:txBody>
                    <a:bodyPr/>
                    <a:lstStyle/>
                    <a:p>
                      <a:pPr marL="0" indent="0" defTabSz="1218987">
                        <a:buFont typeface="+mj-lt"/>
                        <a:buNone/>
                      </a:pPr>
                      <a:r>
                        <a:rPr lang="en-US" sz="1400" b="1" dirty="0" err="1">
                          <a:solidFill>
                            <a:prstClr val="black"/>
                          </a:solidFill>
                          <a:latin typeface="Arial" pitchFamily="34" charset="0"/>
                          <a:cs typeface="Arial" pitchFamily="34" charset="0"/>
                        </a:rPr>
                        <a:t>Terwujudnya</a:t>
                      </a:r>
                      <a:r>
                        <a:rPr lang="en-US" sz="1400" b="1" dirty="0">
                          <a:solidFill>
                            <a:prstClr val="black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400" b="1" dirty="0" err="1">
                          <a:solidFill>
                            <a:prstClr val="black"/>
                          </a:solidFill>
                          <a:latin typeface="Arial" pitchFamily="34" charset="0"/>
                          <a:cs typeface="Arial" pitchFamily="34" charset="0"/>
                        </a:rPr>
                        <a:t>produk</a:t>
                      </a:r>
                      <a:r>
                        <a:rPr lang="en-US" sz="1400" dirty="0">
                          <a:solidFill>
                            <a:prstClr val="black"/>
                          </a:solidFill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en-US" sz="1400" dirty="0" err="1">
                          <a:solidFill>
                            <a:prstClr val="black"/>
                          </a:solidFill>
                          <a:latin typeface="Arial" pitchFamily="34" charset="0"/>
                          <a:cs typeface="Arial" pitchFamily="34" charset="0"/>
                        </a:rPr>
                        <a:t>solusi</a:t>
                      </a:r>
                      <a:r>
                        <a:rPr lang="en-US" sz="1400" dirty="0">
                          <a:solidFill>
                            <a:prstClr val="black"/>
                          </a:solidFill>
                          <a:latin typeface="Arial" pitchFamily="34" charset="0"/>
                          <a:cs typeface="Arial" pitchFamily="34" charset="0"/>
                        </a:rPr>
                        <a:t>, dan </a:t>
                      </a:r>
                      <a:r>
                        <a:rPr lang="en-US" sz="1400" dirty="0" err="1">
                          <a:solidFill>
                            <a:prstClr val="black"/>
                          </a:solidFill>
                          <a:latin typeface="Arial" pitchFamily="34" charset="0"/>
                          <a:cs typeface="Arial" pitchFamily="34" charset="0"/>
                        </a:rPr>
                        <a:t>layanan</a:t>
                      </a:r>
                      <a:r>
                        <a:rPr lang="en-US" sz="1400" dirty="0">
                          <a:solidFill>
                            <a:prstClr val="black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400" dirty="0" err="1">
                          <a:solidFill>
                            <a:prstClr val="black"/>
                          </a:solidFill>
                          <a:latin typeface="Arial" pitchFamily="34" charset="0"/>
                          <a:cs typeface="Arial" pitchFamily="34" charset="0"/>
                        </a:rPr>
                        <a:t>teknologi</a:t>
                      </a:r>
                      <a:r>
                        <a:rPr lang="en-US" sz="1400" dirty="0">
                          <a:solidFill>
                            <a:prstClr val="black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400" dirty="0" err="1">
                          <a:solidFill>
                            <a:prstClr val="black"/>
                          </a:solidFill>
                          <a:latin typeface="Arial" pitchFamily="34" charset="0"/>
                          <a:cs typeface="Arial" pitchFamily="34" charset="0"/>
                        </a:rPr>
                        <a:t>Kecerdasan</a:t>
                      </a:r>
                      <a:r>
                        <a:rPr lang="en-US" sz="1400" dirty="0">
                          <a:solidFill>
                            <a:prstClr val="black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400" dirty="0" err="1">
                          <a:solidFill>
                            <a:prstClr val="black"/>
                          </a:solidFill>
                          <a:latin typeface="Arial" pitchFamily="34" charset="0"/>
                          <a:cs typeface="Arial" pitchFamily="34" charset="0"/>
                        </a:rPr>
                        <a:t>Artifisial</a:t>
                      </a:r>
                      <a:r>
                        <a:rPr lang="en-US" sz="1400" dirty="0">
                          <a:solidFill>
                            <a:prstClr val="black"/>
                          </a:solidFill>
                          <a:latin typeface="Arial" pitchFamily="34" charset="0"/>
                          <a:cs typeface="Arial" pitchFamily="34" charset="0"/>
                        </a:rPr>
                        <a:t> yang </a:t>
                      </a:r>
                      <a:r>
                        <a:rPr lang="en-US" sz="1400" dirty="0" err="1">
                          <a:solidFill>
                            <a:prstClr val="black"/>
                          </a:solidFill>
                          <a:latin typeface="Arial" pitchFamily="34" charset="0"/>
                          <a:cs typeface="Arial" pitchFamily="34" charset="0"/>
                        </a:rPr>
                        <a:t>terkait</a:t>
                      </a:r>
                      <a:r>
                        <a:rPr lang="en-US" sz="1400" dirty="0">
                          <a:solidFill>
                            <a:prstClr val="black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400" b="1" dirty="0" err="1">
                          <a:solidFill>
                            <a:prstClr val="black"/>
                          </a:solidFill>
                          <a:latin typeface="Arial" pitchFamily="34" charset="0"/>
                          <a:cs typeface="Arial" pitchFamily="34" charset="0"/>
                        </a:rPr>
                        <a:t>keberagaman</a:t>
                      </a:r>
                      <a:r>
                        <a:rPr lang="en-US" sz="1400" b="1" dirty="0">
                          <a:solidFill>
                            <a:prstClr val="black"/>
                          </a:solidFill>
                          <a:latin typeface="Arial" pitchFamily="34" charset="0"/>
                          <a:cs typeface="Arial" pitchFamily="34" charset="0"/>
                        </a:rPr>
                        <a:t> dan </a:t>
                      </a:r>
                      <a:r>
                        <a:rPr lang="en-US" sz="1400" b="1" dirty="0" err="1">
                          <a:solidFill>
                            <a:prstClr val="black"/>
                          </a:solidFill>
                          <a:latin typeface="Arial" pitchFamily="34" charset="0"/>
                          <a:cs typeface="Arial" pitchFamily="34" charset="0"/>
                        </a:rPr>
                        <a:t>kearifan</a:t>
                      </a:r>
                      <a:r>
                        <a:rPr lang="en-US" sz="1400" b="1" dirty="0">
                          <a:solidFill>
                            <a:prstClr val="black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400" b="1" dirty="0" err="1">
                          <a:solidFill>
                            <a:prstClr val="black"/>
                          </a:solidFill>
                          <a:latin typeface="Arial" pitchFamily="34" charset="0"/>
                          <a:cs typeface="Arial" pitchFamily="34" charset="0"/>
                        </a:rPr>
                        <a:t>lokal</a:t>
                      </a:r>
                      <a:r>
                        <a:rPr lang="en-US" sz="1400" b="1" dirty="0">
                          <a:solidFill>
                            <a:prstClr val="black"/>
                          </a:solidFill>
                          <a:latin typeface="Arial" pitchFamily="34" charset="0"/>
                          <a:cs typeface="Arial" pitchFamily="34" charset="0"/>
                        </a:rPr>
                        <a:t> Indonesia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defTabSz="1218987"/>
                      <a:r>
                        <a:rPr lang="en-US" sz="1200" b="1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Utama</a:t>
                      </a:r>
                      <a:r>
                        <a:rPr lang="en-US" sz="12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: KORI-KA</a:t>
                      </a:r>
                    </a:p>
                    <a:p>
                      <a:pPr defTabSz="1218987"/>
                      <a:r>
                        <a:rPr lang="en-US" sz="12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 </a:t>
                      </a:r>
                    </a:p>
                    <a:p>
                      <a:pPr defTabSz="1218987"/>
                      <a:r>
                        <a:rPr lang="en-US" sz="1200" b="1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Konsultatif</a:t>
                      </a:r>
                      <a:r>
                        <a:rPr lang="en-US" sz="12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: </a:t>
                      </a:r>
                      <a:r>
                        <a:rPr lang="en-US" sz="12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Kemenristek</a:t>
                      </a:r>
                      <a:r>
                        <a:rPr lang="en-US" sz="12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/BRIN, Kementerian dan Lembaga </a:t>
                      </a:r>
                      <a:r>
                        <a:rPr lang="en-US" sz="12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terkait</a:t>
                      </a:r>
                      <a:r>
                        <a:rPr lang="en-US" sz="12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, BPPT, </a:t>
                      </a:r>
                      <a:r>
                        <a:rPr lang="en-US" sz="12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Perguruan</a:t>
                      </a:r>
                      <a:r>
                        <a:rPr lang="en-US" sz="12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Tinggi, </a:t>
                      </a:r>
                      <a:r>
                        <a:rPr lang="en-US" sz="12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Pelaku</a:t>
                      </a:r>
                      <a:r>
                        <a:rPr lang="en-US" sz="12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</a:t>
                      </a:r>
                      <a:r>
                        <a:rPr lang="en-US" sz="12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Industri</a:t>
                      </a:r>
                      <a:r>
                        <a:rPr lang="en-US" sz="1200" kern="0" dirty="0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 dan Startup </a:t>
                      </a:r>
                      <a:r>
                        <a:rPr lang="en-US" sz="1200" kern="0" dirty="0" err="1">
                          <a:solidFill>
                            <a:prstClr val="black">
                              <a:lumMod val="85000"/>
                              <a:lumOff val="15000"/>
                            </a:prstClr>
                          </a:solidFill>
                          <a:latin typeface="Proxima Nova" panose="02000506030000020004" pitchFamily="2" charset="0"/>
                          <a:cs typeface="Arial" pitchFamily="34" charset="0"/>
                        </a:rPr>
                        <a:t>Terkait</a:t>
                      </a:r>
                      <a:endParaRPr lang="en-US" sz="1200" kern="0" dirty="0">
                        <a:solidFill>
                          <a:prstClr val="black">
                            <a:lumMod val="85000"/>
                            <a:lumOff val="15000"/>
                          </a:prstClr>
                        </a:solidFill>
                        <a:latin typeface="Proxima Nova" panose="02000506030000020004" pitchFamily="2" charset="0"/>
                        <a:cs typeface="Arial" pitchFamily="34" charset="0"/>
                      </a:endParaRP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indent="-228600" algn="l" rtl="0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900"/>
                        </a:spcAft>
                        <a:buClr>
                          <a:srgbClr val="000000"/>
                        </a:buClr>
                        <a:buSzPct val="90000"/>
                        <a:buFont typeface="+mj-lt"/>
                        <a:buAutoNum type="arabicPeriod"/>
                      </a:pPr>
                      <a:r>
                        <a:rPr lang="en-SG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mplementasi</a:t>
                      </a:r>
                      <a:r>
                        <a:rPr lang="en-SG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rogram </a:t>
                      </a:r>
                      <a:r>
                        <a:rPr lang="en-SG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ovasi</a:t>
                      </a:r>
                      <a:r>
                        <a:rPr lang="en-SG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ecerdasan</a:t>
                      </a:r>
                      <a:r>
                        <a:rPr lang="en-SG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rtifisial</a:t>
                      </a:r>
                      <a:r>
                        <a:rPr lang="en-SG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untuk</a:t>
                      </a:r>
                      <a:r>
                        <a:rPr lang="en-SG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ayanan</a:t>
                      </a:r>
                      <a:r>
                        <a:rPr lang="en-SG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ublik</a:t>
                      </a:r>
                      <a:r>
                        <a:rPr lang="en-SG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kala</a:t>
                      </a:r>
                      <a:r>
                        <a:rPr lang="en-SG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asional</a:t>
                      </a:r>
                      <a:endParaRPr lang="id-ID" sz="1200" b="0" i="0" u="none" strike="noStrike" dirty="0">
                        <a:solidFill>
                          <a:schemeClr val="dk1"/>
                        </a:solidFill>
                        <a:effectLst/>
                        <a:latin typeface="Proxima Nova" panose="02000506030000020004" pitchFamily="2" charset="0"/>
                        <a:ea typeface="+mn-ea"/>
                        <a:cs typeface="+mn-cs"/>
                      </a:endParaRPr>
                    </a:p>
                    <a:p>
                      <a:pPr marL="228600" marR="0" indent="-228600" algn="l" rtl="0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900"/>
                        </a:spcAft>
                        <a:buClr>
                          <a:srgbClr val="000000"/>
                        </a:buClr>
                        <a:buSzPct val="90000"/>
                        <a:buFont typeface="+mj-lt"/>
                        <a:buAutoNum type="arabicPeriod"/>
                      </a:pPr>
                      <a:r>
                        <a:rPr lang="en-SG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oyek</a:t>
                      </a:r>
                      <a:r>
                        <a:rPr lang="en-SG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contohan</a:t>
                      </a:r>
                      <a:r>
                        <a:rPr lang="en-SG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iset</a:t>
                      </a:r>
                      <a:r>
                        <a:rPr lang="en-SG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an </a:t>
                      </a:r>
                      <a:r>
                        <a:rPr lang="en-SG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ovasi</a:t>
                      </a:r>
                      <a:r>
                        <a:rPr lang="en-SG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ecerdasan</a:t>
                      </a:r>
                      <a:r>
                        <a:rPr lang="en-SG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rtifisial</a:t>
                      </a:r>
                      <a:r>
                        <a:rPr lang="en-SG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i </a:t>
                      </a:r>
                      <a:r>
                        <a:rPr lang="en-SG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ktor</a:t>
                      </a:r>
                      <a:r>
                        <a:rPr lang="en-SG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dustri</a:t>
                      </a:r>
                      <a:r>
                        <a:rPr lang="en-SG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unggulan</a:t>
                      </a:r>
                      <a:endParaRPr lang="id-ID" sz="1200" b="0" i="0" u="none" strike="noStrike" dirty="0">
                        <a:solidFill>
                          <a:schemeClr val="dk1"/>
                        </a:solidFill>
                        <a:effectLst/>
                        <a:latin typeface="Proxima Nova" panose="02000506030000020004" pitchFamily="2" charset="0"/>
                        <a:ea typeface="+mn-ea"/>
                        <a:cs typeface="+mn-cs"/>
                      </a:endParaRPr>
                    </a:p>
                    <a:p>
                      <a:pPr marL="228600" marR="0" indent="-228600" algn="l" rtl="0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900"/>
                        </a:spcAft>
                        <a:buClr>
                          <a:srgbClr val="000000"/>
                        </a:buClr>
                        <a:buSzPct val="90000"/>
                        <a:buFont typeface="+mj-lt"/>
                        <a:buAutoNum type="arabicPeriod"/>
                      </a:pPr>
                      <a:r>
                        <a:rPr lang="en-SG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rkestrasi</a:t>
                      </a:r>
                      <a:r>
                        <a:rPr lang="en-SG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kosistem</a:t>
                      </a:r>
                      <a:r>
                        <a:rPr lang="en-SG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ovasi</a:t>
                      </a:r>
                      <a:r>
                        <a:rPr lang="en-SG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dustri</a:t>
                      </a:r>
                      <a:r>
                        <a:rPr lang="en-SG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ecerdasan</a:t>
                      </a:r>
                      <a:r>
                        <a:rPr lang="en-SG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rtifisial</a:t>
                      </a:r>
                      <a:r>
                        <a:rPr lang="en-SG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ntar</a:t>
                      </a:r>
                      <a:r>
                        <a:rPr lang="en-SG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ktor</a:t>
                      </a:r>
                      <a:endParaRPr lang="id-ID" sz="1200" b="0" i="0" u="none" strike="noStrike" dirty="0">
                        <a:solidFill>
                          <a:schemeClr val="dk1"/>
                        </a:solidFill>
                        <a:effectLst/>
                        <a:latin typeface="Proxima Nova" panose="02000506030000020004" pitchFamily="2" charset="0"/>
                        <a:ea typeface="+mn-ea"/>
                        <a:cs typeface="+mn-cs"/>
                      </a:endParaRPr>
                    </a:p>
                    <a:p>
                      <a:pPr marL="228600" marR="0" indent="-228600" algn="l" rtl="0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900"/>
                        </a:spcAft>
                        <a:buClr>
                          <a:srgbClr val="000000"/>
                        </a:buClr>
                        <a:buSzPct val="90000"/>
                        <a:buFont typeface="+mj-lt"/>
                        <a:buAutoNum type="arabicPeriod"/>
                      </a:pPr>
                      <a:r>
                        <a:rPr lang="en-SG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isiasi</a:t>
                      </a:r>
                      <a:r>
                        <a:rPr lang="en-SG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emandirian</a:t>
                      </a:r>
                      <a:r>
                        <a:rPr lang="en-SG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dustri</a:t>
                      </a:r>
                      <a:r>
                        <a:rPr lang="en-SG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ecerdasan</a:t>
                      </a:r>
                      <a:r>
                        <a:rPr lang="en-SG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rtifisial</a:t>
                      </a:r>
                      <a:r>
                        <a:rPr lang="en-SG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elalui</a:t>
                      </a:r>
                      <a:r>
                        <a:rPr lang="en-SG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ebijakan</a:t>
                      </a:r>
                      <a:r>
                        <a:rPr lang="en-SG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sandboxing</a:t>
                      </a:r>
                      <a:endParaRPr lang="id-ID" sz="1200" b="0" i="0" u="none" strike="noStrike" dirty="0">
                        <a:solidFill>
                          <a:schemeClr val="dk1"/>
                        </a:solidFill>
                        <a:effectLst/>
                        <a:latin typeface="Proxima Nova" panose="02000506030000020004" pitchFamily="2" charset="0"/>
                        <a:ea typeface="+mn-ea"/>
                        <a:cs typeface="+mn-cs"/>
                      </a:endParaRPr>
                    </a:p>
                    <a:p>
                      <a:pPr marL="228600" marR="0" indent="-228600" algn="l" rtl="0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900"/>
                        </a:spcAft>
                        <a:buClr>
                          <a:srgbClr val="000000"/>
                        </a:buClr>
                        <a:buSzPct val="90000"/>
                        <a:buFont typeface="+mj-lt"/>
                        <a:buAutoNum type="arabicPeriod"/>
                      </a:pPr>
                      <a:r>
                        <a:rPr lang="en-SG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mplementasi</a:t>
                      </a:r>
                      <a:r>
                        <a:rPr lang="en-SG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rogram </a:t>
                      </a:r>
                      <a:r>
                        <a:rPr lang="en-SG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ovasi</a:t>
                      </a:r>
                      <a:r>
                        <a:rPr lang="en-SG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dustri</a:t>
                      </a:r>
                      <a:r>
                        <a:rPr lang="en-SG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ecerdasan</a:t>
                      </a:r>
                      <a:r>
                        <a:rPr lang="en-SG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rtifisial</a:t>
                      </a:r>
                      <a:r>
                        <a:rPr lang="en-SG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untuk</a:t>
                      </a:r>
                      <a:r>
                        <a:rPr lang="en-SG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ktor</a:t>
                      </a:r>
                      <a:r>
                        <a:rPr lang="en-SG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dustri</a:t>
                      </a:r>
                      <a:r>
                        <a:rPr lang="en-SG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unggulan</a:t>
                      </a:r>
                      <a:r>
                        <a:rPr lang="en-SG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kala</a:t>
                      </a:r>
                      <a:r>
                        <a:rPr lang="en-SG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asional</a:t>
                      </a:r>
                      <a:endParaRPr lang="id-ID" sz="1200" b="0" i="0" u="none" strike="noStrike" dirty="0">
                        <a:solidFill>
                          <a:schemeClr val="dk1"/>
                        </a:solidFill>
                        <a:effectLst/>
                        <a:latin typeface="Proxima Nova" panose="02000506030000020004" pitchFamily="2" charset="0"/>
                        <a:ea typeface="+mn-ea"/>
                        <a:cs typeface="+mn-cs"/>
                      </a:endParaRPr>
                    </a:p>
                    <a:p>
                      <a:pPr marL="228600" marR="0" indent="-228600" algn="l" rtl="0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900"/>
                        </a:spcAft>
                        <a:buClr>
                          <a:srgbClr val="000000"/>
                        </a:buClr>
                        <a:buSzPct val="90000"/>
                        <a:buFont typeface="+mj-lt"/>
                        <a:buAutoNum type="arabicPeriod"/>
                      </a:pPr>
                      <a:r>
                        <a:rPr lang="en-SG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luasan</a:t>
                      </a:r>
                      <a:r>
                        <a:rPr lang="en-SG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manfaatan</a:t>
                      </a:r>
                      <a:r>
                        <a:rPr lang="en-SG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eknologi</a:t>
                      </a:r>
                      <a:r>
                        <a:rPr lang="en-SG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ecerdasan</a:t>
                      </a:r>
                      <a:r>
                        <a:rPr lang="en-SG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rtifisial</a:t>
                      </a:r>
                      <a:r>
                        <a:rPr lang="en-SG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ada </a:t>
                      </a:r>
                      <a:r>
                        <a:rPr lang="en-SG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luruh</a:t>
                      </a:r>
                      <a:r>
                        <a:rPr lang="en-SG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SG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Proxima Nova" panose="02000506030000020004" pitchFamily="2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ktor</a:t>
                      </a:r>
                      <a:endParaRPr lang="en-SG" sz="1200" b="1" i="0" u="none" strike="noStrike" dirty="0">
                        <a:solidFill>
                          <a:srgbClr val="000000"/>
                        </a:solidFill>
                        <a:effectLst/>
                        <a:latin typeface="Proxima Nova" panose="02000506030000020004" pitchFamily="2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97847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652516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921</TotalTime>
  <Words>936</Words>
  <Application>Microsoft Macintosh PowerPoint</Application>
  <PresentationFormat>Widescreen</PresentationFormat>
  <Paragraphs>131</Paragraphs>
  <Slides>1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Calibri</vt:lpstr>
      <vt:lpstr>Calibri Light</vt:lpstr>
      <vt:lpstr>Proxima Nova</vt:lpstr>
      <vt:lpstr>Wingdings</vt:lpstr>
      <vt:lpstr>Office Theme</vt:lpstr>
      <vt:lpstr>think-cell Slide</vt:lpstr>
      <vt:lpstr>STRATEGI NASIONAL  KECERDASAN ARTIFISIAL 2020-2045 </vt:lpstr>
      <vt:lpstr>PowerPoint Presentation</vt:lpstr>
      <vt:lpstr>Kerangka Kerja Riset dan Inovasi Industri  Kecerdasan Artifisial (KA)</vt:lpstr>
      <vt:lpstr>Kolaborasi Riset dan Inovasi Industri KA (KORI-KA) Orkestrator Ekosistem Riset dan Inovasi KA</vt:lpstr>
      <vt:lpstr>PowerPoint Presentation</vt:lpstr>
      <vt:lpstr>Sektor Layanan Publik dan Industri (Produk, Layanan, Solusi)</vt:lpstr>
      <vt:lpstr>TEKNOLOGI KECERDASAN ARTIFISIAL</vt:lpstr>
      <vt:lpstr>Program-Program Inisiatif  JANGKA PENDEK 2020-2021</vt:lpstr>
      <vt:lpstr>Program-Program Inisiatif  JANGKA MENENGAH 2020-2024</vt:lpstr>
      <vt:lpstr>Program-Program Inisiatif  JANGKA PANJANG 2020-2045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indrautoyo@gmail.com</cp:lastModifiedBy>
  <cp:revision>25</cp:revision>
  <dcterms:created xsi:type="dcterms:W3CDTF">2020-11-04T03:34:13Z</dcterms:created>
  <dcterms:modified xsi:type="dcterms:W3CDTF">2020-11-11T23:08:42Z</dcterms:modified>
</cp:coreProperties>
</file>